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2" r:id="rId1"/>
  </p:sldMasterIdLst>
  <p:notesMasterIdLst>
    <p:notesMasterId r:id="rId26"/>
  </p:notesMasterIdLst>
  <p:handoutMasterIdLst>
    <p:handoutMasterId r:id="rId27"/>
  </p:handoutMasterIdLst>
  <p:sldIdLst>
    <p:sldId id="359" r:id="rId2"/>
    <p:sldId id="263" r:id="rId3"/>
    <p:sldId id="2689" r:id="rId4"/>
    <p:sldId id="408" r:id="rId5"/>
    <p:sldId id="319" r:id="rId6"/>
    <p:sldId id="321" r:id="rId7"/>
    <p:sldId id="324" r:id="rId8"/>
    <p:sldId id="2695" r:id="rId9"/>
    <p:sldId id="327" r:id="rId10"/>
    <p:sldId id="328" r:id="rId11"/>
    <p:sldId id="406" r:id="rId12"/>
    <p:sldId id="407" r:id="rId13"/>
    <p:sldId id="2692" r:id="rId14"/>
    <p:sldId id="2696" r:id="rId15"/>
    <p:sldId id="391" r:id="rId16"/>
    <p:sldId id="2697" r:id="rId17"/>
    <p:sldId id="382" r:id="rId18"/>
    <p:sldId id="383" r:id="rId19"/>
    <p:sldId id="397" r:id="rId20"/>
    <p:sldId id="422" r:id="rId21"/>
    <p:sldId id="423" r:id="rId22"/>
    <p:sldId id="2693" r:id="rId23"/>
    <p:sldId id="409" r:id="rId24"/>
    <p:sldId id="2694" r:id="rId25"/>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ise Pufahl" initials="LP" lastIdx="7" clrIdx="0">
    <p:extLst>
      <p:ext uri="{19B8F6BF-5375-455C-9EA6-DF929625EA0E}">
        <p15:presenceInfo xmlns:p15="http://schemas.microsoft.com/office/powerpoint/2012/main" userId="68b95bef44884c5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794" autoAdjust="0"/>
    <p:restoredTop sz="96327" autoAdjust="0"/>
  </p:normalViewPr>
  <p:slideViewPr>
    <p:cSldViewPr snapToGrid="0">
      <p:cViewPr varScale="1">
        <p:scale>
          <a:sx n="149" d="100"/>
          <a:sy n="149" d="100"/>
        </p:scale>
        <p:origin x="1056" y="168"/>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12680"/>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F30E84-8AB4-984D-AFFD-B5A0DAC4A4B3}" type="doc">
      <dgm:prSet loTypeId="urn:microsoft.com/office/officeart/2005/8/layout/vList5" loCatId="" qsTypeId="urn:microsoft.com/office/officeart/2005/8/quickstyle/simple1" qsCatId="simple" csTypeId="urn:microsoft.com/office/officeart/2005/8/colors/accent1_2" csCatId="accent1" phldr="1"/>
      <dgm:spPr/>
      <dgm:t>
        <a:bodyPr/>
        <a:lstStyle/>
        <a:p>
          <a:endParaRPr lang="en-US"/>
        </a:p>
      </dgm:t>
    </dgm:pt>
    <dgm:pt modelId="{3A2FBCA2-17D0-144B-88D5-8ACD1362896E}">
      <dgm:prSet phldrT="[Text]" custT="1"/>
      <dgm:spPr/>
      <dgm:t>
        <a:bodyPr/>
        <a:lstStyle/>
        <a:p>
          <a:r>
            <a:rPr lang="en-US" sz="3200" dirty="0"/>
            <a:t>Pattern Name</a:t>
          </a:r>
        </a:p>
      </dgm:t>
    </dgm:pt>
    <dgm:pt modelId="{0251F9F4-D6DB-D04D-B29B-864D8F832BBA}" type="parTrans" cxnId="{491D542F-DC09-F446-A2BB-FD92400720F4}">
      <dgm:prSet/>
      <dgm:spPr/>
      <dgm:t>
        <a:bodyPr/>
        <a:lstStyle/>
        <a:p>
          <a:endParaRPr lang="en-US"/>
        </a:p>
      </dgm:t>
    </dgm:pt>
    <dgm:pt modelId="{2E9D87D8-421A-B745-9B40-DCAF99EBE77F}" type="sibTrans" cxnId="{491D542F-DC09-F446-A2BB-FD92400720F4}">
      <dgm:prSet/>
      <dgm:spPr/>
      <dgm:t>
        <a:bodyPr/>
        <a:lstStyle/>
        <a:p>
          <a:endParaRPr lang="en-US"/>
        </a:p>
      </dgm:t>
    </dgm:pt>
    <dgm:pt modelId="{BA0EBEF8-2084-1340-9F9A-86961DF89729}">
      <dgm:prSet phldrT="[Text]"/>
      <dgm:spPr/>
      <dgm:t>
        <a:bodyPr/>
        <a:lstStyle/>
        <a:p>
          <a:r>
            <a:rPr lang="en-US" dirty="0"/>
            <a:t>Describe a design problem, its solutions, &amp; consequences in a word or 2</a:t>
          </a:r>
        </a:p>
      </dgm:t>
    </dgm:pt>
    <dgm:pt modelId="{F46EDC1B-2439-5D4D-829D-DCD367FAD299}" type="parTrans" cxnId="{C96F1EA7-ECA0-3F40-BA8C-B4208BFD8D9B}">
      <dgm:prSet/>
      <dgm:spPr/>
      <dgm:t>
        <a:bodyPr/>
        <a:lstStyle/>
        <a:p>
          <a:endParaRPr lang="en-US"/>
        </a:p>
      </dgm:t>
    </dgm:pt>
    <dgm:pt modelId="{DD268282-2CAD-F040-9971-5BB07441A20D}" type="sibTrans" cxnId="{C96F1EA7-ECA0-3F40-BA8C-B4208BFD8D9B}">
      <dgm:prSet/>
      <dgm:spPr/>
      <dgm:t>
        <a:bodyPr/>
        <a:lstStyle/>
        <a:p>
          <a:endParaRPr lang="en-US"/>
        </a:p>
      </dgm:t>
    </dgm:pt>
    <dgm:pt modelId="{94E6805B-7EEA-1B45-B684-486D18CDFAE6}">
      <dgm:prSet phldrT="[Text]" custT="1"/>
      <dgm:spPr/>
      <dgm:t>
        <a:bodyPr/>
        <a:lstStyle/>
        <a:p>
          <a:r>
            <a:rPr lang="en-US" altLang="zh-CN" sz="3200" dirty="0"/>
            <a:t>Problem</a:t>
          </a:r>
          <a:endParaRPr lang="en-US" sz="3200" dirty="0"/>
        </a:p>
      </dgm:t>
    </dgm:pt>
    <dgm:pt modelId="{9F06BB5F-86F6-0143-A75E-22D19776B7EA}" type="parTrans" cxnId="{4720061A-7365-B343-943F-61CB25429E7A}">
      <dgm:prSet/>
      <dgm:spPr/>
      <dgm:t>
        <a:bodyPr/>
        <a:lstStyle/>
        <a:p>
          <a:endParaRPr lang="en-US"/>
        </a:p>
      </dgm:t>
    </dgm:pt>
    <dgm:pt modelId="{02A781BC-CC04-4A44-BC97-7D756F614D5F}" type="sibTrans" cxnId="{4720061A-7365-B343-943F-61CB25429E7A}">
      <dgm:prSet/>
      <dgm:spPr/>
      <dgm:t>
        <a:bodyPr/>
        <a:lstStyle/>
        <a:p>
          <a:endParaRPr lang="en-US"/>
        </a:p>
      </dgm:t>
    </dgm:pt>
    <dgm:pt modelId="{46343FB2-BF0E-984D-BA82-F51E8408B3D0}">
      <dgm:prSet phldrT="[Text]"/>
      <dgm:spPr/>
      <dgm:t>
        <a:bodyPr/>
        <a:lstStyle/>
        <a:p>
          <a:r>
            <a:rPr lang="en-US" dirty="0"/>
            <a:t>Explain problem &amp; its context</a:t>
          </a:r>
        </a:p>
      </dgm:t>
    </dgm:pt>
    <dgm:pt modelId="{F4B92B2F-BCD2-6B42-BB5F-17F8AF33DDE9}" type="parTrans" cxnId="{B4841303-304F-0A47-B523-DE7207C7A25D}">
      <dgm:prSet/>
      <dgm:spPr/>
      <dgm:t>
        <a:bodyPr/>
        <a:lstStyle/>
        <a:p>
          <a:endParaRPr lang="en-US"/>
        </a:p>
      </dgm:t>
    </dgm:pt>
    <dgm:pt modelId="{2B99148E-290D-6749-A0C3-2A1373F33CFE}" type="sibTrans" cxnId="{B4841303-304F-0A47-B523-DE7207C7A25D}">
      <dgm:prSet/>
      <dgm:spPr/>
      <dgm:t>
        <a:bodyPr/>
        <a:lstStyle/>
        <a:p>
          <a:endParaRPr lang="en-US"/>
        </a:p>
      </dgm:t>
    </dgm:pt>
    <dgm:pt modelId="{04188F43-B321-3245-AE98-4913C42C3749}">
      <dgm:prSet phldrT="[Text]"/>
      <dgm:spPr/>
      <dgm:t>
        <a:bodyPr/>
        <a:lstStyle/>
        <a:p>
          <a:r>
            <a:rPr lang="en-US" dirty="0"/>
            <a:t>Conditions must be met </a:t>
          </a:r>
        </a:p>
      </dgm:t>
    </dgm:pt>
    <dgm:pt modelId="{DF5D4908-FF4E-0D4E-B8B9-7F04531A87C2}" type="parTrans" cxnId="{7CE7A5CA-16CE-494B-8AD7-B83A325688CD}">
      <dgm:prSet/>
      <dgm:spPr/>
      <dgm:t>
        <a:bodyPr/>
        <a:lstStyle/>
        <a:p>
          <a:endParaRPr lang="en-US"/>
        </a:p>
      </dgm:t>
    </dgm:pt>
    <dgm:pt modelId="{2DAE97A7-57BE-1842-B9A7-3A5E51F330BC}" type="sibTrans" cxnId="{7CE7A5CA-16CE-494B-8AD7-B83A325688CD}">
      <dgm:prSet/>
      <dgm:spPr/>
      <dgm:t>
        <a:bodyPr/>
        <a:lstStyle/>
        <a:p>
          <a:endParaRPr lang="en-US"/>
        </a:p>
      </dgm:t>
    </dgm:pt>
    <dgm:pt modelId="{C18132FD-8AD6-784B-84F3-927647808057}">
      <dgm:prSet phldrT="[Text]" custT="1"/>
      <dgm:spPr/>
      <dgm:t>
        <a:bodyPr/>
        <a:lstStyle/>
        <a:p>
          <a:r>
            <a:rPr lang="en-US" sz="3200" dirty="0"/>
            <a:t>Solution</a:t>
          </a:r>
          <a:endParaRPr lang="en-US" sz="3400" dirty="0"/>
        </a:p>
      </dgm:t>
    </dgm:pt>
    <dgm:pt modelId="{7F506723-3CE9-AB43-8151-16E0387ABA92}" type="parTrans" cxnId="{27221456-A9E8-CE41-AF5B-6F9C4ADE0884}">
      <dgm:prSet/>
      <dgm:spPr/>
      <dgm:t>
        <a:bodyPr/>
        <a:lstStyle/>
        <a:p>
          <a:endParaRPr lang="en-US"/>
        </a:p>
      </dgm:t>
    </dgm:pt>
    <dgm:pt modelId="{6D960225-AB09-A046-B008-87D3B0A62F77}" type="sibTrans" cxnId="{27221456-A9E8-CE41-AF5B-6F9C4ADE0884}">
      <dgm:prSet/>
      <dgm:spPr/>
      <dgm:t>
        <a:bodyPr/>
        <a:lstStyle/>
        <a:p>
          <a:endParaRPr lang="en-US"/>
        </a:p>
      </dgm:t>
    </dgm:pt>
    <dgm:pt modelId="{95DAD088-7E95-CA40-8879-4E28263347DA}">
      <dgm:prSet phldrT="[Text]"/>
      <dgm:spPr/>
      <dgm:t>
        <a:bodyPr/>
        <a:lstStyle/>
        <a:p>
          <a:r>
            <a:rPr lang="en-US" dirty="0"/>
            <a:t>Describe elements that make up design</a:t>
          </a:r>
        </a:p>
      </dgm:t>
    </dgm:pt>
    <dgm:pt modelId="{0629E407-E357-D94A-85DD-F4A2381BCAE5}" type="parTrans" cxnId="{D35AB237-0508-5A48-80FB-AEDF225CA203}">
      <dgm:prSet/>
      <dgm:spPr/>
      <dgm:t>
        <a:bodyPr/>
        <a:lstStyle/>
        <a:p>
          <a:endParaRPr lang="en-US"/>
        </a:p>
      </dgm:t>
    </dgm:pt>
    <dgm:pt modelId="{DAD283B9-E08A-8047-89DB-6E7E5A9CBBE7}" type="sibTrans" cxnId="{D35AB237-0508-5A48-80FB-AEDF225CA203}">
      <dgm:prSet/>
      <dgm:spPr/>
      <dgm:t>
        <a:bodyPr/>
        <a:lstStyle/>
        <a:p>
          <a:endParaRPr lang="en-US"/>
        </a:p>
      </dgm:t>
    </dgm:pt>
    <dgm:pt modelId="{31A1188A-D58C-0540-971B-9C33A3D30EC2}">
      <dgm:prSet custT="1"/>
      <dgm:spPr/>
      <dgm:t>
        <a:bodyPr/>
        <a:lstStyle/>
        <a:p>
          <a:r>
            <a:rPr lang="en-US" sz="3200" dirty="0"/>
            <a:t>Consequence</a:t>
          </a:r>
          <a:endParaRPr lang="en-US" sz="3400" dirty="0"/>
        </a:p>
      </dgm:t>
    </dgm:pt>
    <dgm:pt modelId="{C47E5AC1-1D83-594E-95A5-B772C2E3C021}" type="parTrans" cxnId="{BDD49626-5079-C441-9C6D-208C7D0DECF4}">
      <dgm:prSet/>
      <dgm:spPr/>
      <dgm:t>
        <a:bodyPr/>
        <a:lstStyle/>
        <a:p>
          <a:endParaRPr lang="en-US"/>
        </a:p>
      </dgm:t>
    </dgm:pt>
    <dgm:pt modelId="{839E6BBD-41F6-D441-8D88-687F480EFD01}" type="sibTrans" cxnId="{BDD49626-5079-C441-9C6D-208C7D0DECF4}">
      <dgm:prSet/>
      <dgm:spPr/>
      <dgm:t>
        <a:bodyPr/>
        <a:lstStyle/>
        <a:p>
          <a:endParaRPr lang="en-US"/>
        </a:p>
      </dgm:t>
    </dgm:pt>
    <dgm:pt modelId="{8245F97E-2928-4C4F-A5A1-85C48CFB77F7}">
      <dgm:prSet/>
      <dgm:spPr/>
      <dgm:t>
        <a:bodyPr/>
        <a:lstStyle/>
        <a:p>
          <a:r>
            <a:rPr lang="en-US" dirty="0"/>
            <a:t>Results &amp; trade-offs of applying pattern</a:t>
          </a:r>
        </a:p>
      </dgm:t>
    </dgm:pt>
    <dgm:pt modelId="{02B8DE5D-C776-3B4D-86C6-20844286A6E7}" type="parTrans" cxnId="{1E4F620B-4CA6-CE4B-9919-19BE4A2844E5}">
      <dgm:prSet/>
      <dgm:spPr/>
      <dgm:t>
        <a:bodyPr/>
        <a:lstStyle/>
        <a:p>
          <a:endParaRPr lang="en-US"/>
        </a:p>
      </dgm:t>
    </dgm:pt>
    <dgm:pt modelId="{A0EEF837-73BF-4943-8FF4-8D478F8A8D70}" type="sibTrans" cxnId="{1E4F620B-4CA6-CE4B-9919-19BE4A2844E5}">
      <dgm:prSet/>
      <dgm:spPr/>
      <dgm:t>
        <a:bodyPr/>
        <a:lstStyle/>
        <a:p>
          <a:endParaRPr lang="en-US"/>
        </a:p>
      </dgm:t>
    </dgm:pt>
    <dgm:pt modelId="{C7869D30-11C1-9247-AD9F-14B0F2596B00}">
      <dgm:prSet phldrT="[Text]"/>
      <dgm:spPr/>
      <dgm:t>
        <a:bodyPr/>
        <a:lstStyle/>
        <a:p>
          <a:r>
            <a:rPr lang="en-US" dirty="0"/>
            <a:t>Relationship, responsibilities, &amp; collaborations</a:t>
          </a:r>
        </a:p>
      </dgm:t>
    </dgm:pt>
    <dgm:pt modelId="{EF113F7C-23F3-4B48-B42A-6550B7CFA222}" type="parTrans" cxnId="{DEE334EA-3A55-B944-ADAD-AC0AAF973314}">
      <dgm:prSet/>
      <dgm:spPr/>
      <dgm:t>
        <a:bodyPr/>
        <a:lstStyle/>
        <a:p>
          <a:endParaRPr lang="en-US"/>
        </a:p>
      </dgm:t>
    </dgm:pt>
    <dgm:pt modelId="{82B68BAA-9877-8543-AD15-3ADCCCFF1A9B}" type="sibTrans" cxnId="{DEE334EA-3A55-B944-ADAD-AC0AAF973314}">
      <dgm:prSet/>
      <dgm:spPr/>
      <dgm:t>
        <a:bodyPr/>
        <a:lstStyle/>
        <a:p>
          <a:endParaRPr lang="en-US"/>
        </a:p>
      </dgm:t>
    </dgm:pt>
    <dgm:pt modelId="{42AD3085-0062-D749-B396-2F682CE0D38E}">
      <dgm:prSet/>
      <dgm:spPr/>
      <dgm:t>
        <a:bodyPr/>
        <a:lstStyle/>
        <a:p>
          <a:r>
            <a:rPr lang="en-US" dirty="0"/>
            <a:t>Critical for understanding cost-benefits</a:t>
          </a:r>
        </a:p>
      </dgm:t>
    </dgm:pt>
    <dgm:pt modelId="{4E78CDB2-67F9-8C4E-AC0E-0E1646C8818E}" type="parTrans" cxnId="{7AD13945-572C-E341-91C5-5AD378C6572D}">
      <dgm:prSet/>
      <dgm:spPr/>
      <dgm:t>
        <a:bodyPr/>
        <a:lstStyle/>
        <a:p>
          <a:endParaRPr lang="en-US"/>
        </a:p>
      </dgm:t>
    </dgm:pt>
    <dgm:pt modelId="{B4AD2DD3-786D-1141-92F9-E11814C921C0}" type="sibTrans" cxnId="{7AD13945-572C-E341-91C5-5AD378C6572D}">
      <dgm:prSet/>
      <dgm:spPr/>
      <dgm:t>
        <a:bodyPr/>
        <a:lstStyle/>
        <a:p>
          <a:endParaRPr lang="en-US"/>
        </a:p>
      </dgm:t>
    </dgm:pt>
    <dgm:pt modelId="{1AFDE019-39D7-2244-B19E-2A352F7D7A4F}" type="pres">
      <dgm:prSet presAssocID="{EFF30E84-8AB4-984D-AFFD-B5A0DAC4A4B3}" presName="Name0" presStyleCnt="0">
        <dgm:presLayoutVars>
          <dgm:dir/>
          <dgm:animLvl val="lvl"/>
          <dgm:resizeHandles val="exact"/>
        </dgm:presLayoutVars>
      </dgm:prSet>
      <dgm:spPr/>
    </dgm:pt>
    <dgm:pt modelId="{E9D40DF9-12BA-E94D-9E24-1382E9E4BD69}" type="pres">
      <dgm:prSet presAssocID="{3A2FBCA2-17D0-144B-88D5-8ACD1362896E}" presName="linNode" presStyleCnt="0"/>
      <dgm:spPr/>
    </dgm:pt>
    <dgm:pt modelId="{52061A9D-7382-2E4F-836A-E3E9AFEFA3C3}" type="pres">
      <dgm:prSet presAssocID="{3A2FBCA2-17D0-144B-88D5-8ACD1362896E}" presName="parentText" presStyleLbl="node1" presStyleIdx="0" presStyleCnt="4">
        <dgm:presLayoutVars>
          <dgm:chMax val="1"/>
          <dgm:bulletEnabled val="1"/>
        </dgm:presLayoutVars>
      </dgm:prSet>
      <dgm:spPr/>
    </dgm:pt>
    <dgm:pt modelId="{0AE76784-5D59-A743-AA47-5BB59FA4DAB7}" type="pres">
      <dgm:prSet presAssocID="{3A2FBCA2-17D0-144B-88D5-8ACD1362896E}" presName="descendantText" presStyleLbl="alignAccFollowNode1" presStyleIdx="0" presStyleCnt="4">
        <dgm:presLayoutVars>
          <dgm:bulletEnabled val="1"/>
        </dgm:presLayoutVars>
      </dgm:prSet>
      <dgm:spPr/>
    </dgm:pt>
    <dgm:pt modelId="{CC68081B-4E0F-9B4E-AF3B-76C640AFA8EA}" type="pres">
      <dgm:prSet presAssocID="{2E9D87D8-421A-B745-9B40-DCAF99EBE77F}" presName="sp" presStyleCnt="0"/>
      <dgm:spPr/>
    </dgm:pt>
    <dgm:pt modelId="{EFBB7E66-A635-B240-A07E-FD200C1F7085}" type="pres">
      <dgm:prSet presAssocID="{94E6805B-7EEA-1B45-B684-486D18CDFAE6}" presName="linNode" presStyleCnt="0"/>
      <dgm:spPr/>
    </dgm:pt>
    <dgm:pt modelId="{629DAA03-DA31-0C4A-B441-2E198200C4D0}" type="pres">
      <dgm:prSet presAssocID="{94E6805B-7EEA-1B45-B684-486D18CDFAE6}" presName="parentText" presStyleLbl="node1" presStyleIdx="1" presStyleCnt="4">
        <dgm:presLayoutVars>
          <dgm:chMax val="1"/>
          <dgm:bulletEnabled val="1"/>
        </dgm:presLayoutVars>
      </dgm:prSet>
      <dgm:spPr/>
    </dgm:pt>
    <dgm:pt modelId="{60BE5020-082D-AF49-8633-E123F720801E}" type="pres">
      <dgm:prSet presAssocID="{94E6805B-7EEA-1B45-B684-486D18CDFAE6}" presName="descendantText" presStyleLbl="alignAccFollowNode1" presStyleIdx="1" presStyleCnt="4">
        <dgm:presLayoutVars>
          <dgm:bulletEnabled val="1"/>
        </dgm:presLayoutVars>
      </dgm:prSet>
      <dgm:spPr/>
    </dgm:pt>
    <dgm:pt modelId="{D9CD2305-A4EC-6A4E-AEEE-6AFCF4B786EB}" type="pres">
      <dgm:prSet presAssocID="{02A781BC-CC04-4A44-BC97-7D756F614D5F}" presName="sp" presStyleCnt="0"/>
      <dgm:spPr/>
    </dgm:pt>
    <dgm:pt modelId="{891B369A-286D-D040-8A6B-53F36CF70E1D}" type="pres">
      <dgm:prSet presAssocID="{C18132FD-8AD6-784B-84F3-927647808057}" presName="linNode" presStyleCnt="0"/>
      <dgm:spPr/>
    </dgm:pt>
    <dgm:pt modelId="{F6C3F537-6E74-4E4D-83EE-39724C655B87}" type="pres">
      <dgm:prSet presAssocID="{C18132FD-8AD6-784B-84F3-927647808057}" presName="parentText" presStyleLbl="node1" presStyleIdx="2" presStyleCnt="4">
        <dgm:presLayoutVars>
          <dgm:chMax val="1"/>
          <dgm:bulletEnabled val="1"/>
        </dgm:presLayoutVars>
      </dgm:prSet>
      <dgm:spPr/>
    </dgm:pt>
    <dgm:pt modelId="{358B8DCD-C6CF-A249-B257-B9B0C3C2D81B}" type="pres">
      <dgm:prSet presAssocID="{C18132FD-8AD6-784B-84F3-927647808057}" presName="descendantText" presStyleLbl="alignAccFollowNode1" presStyleIdx="2" presStyleCnt="4">
        <dgm:presLayoutVars>
          <dgm:bulletEnabled val="1"/>
        </dgm:presLayoutVars>
      </dgm:prSet>
      <dgm:spPr/>
    </dgm:pt>
    <dgm:pt modelId="{FA42F64B-9895-8145-BFF0-1F737CA09607}" type="pres">
      <dgm:prSet presAssocID="{6D960225-AB09-A046-B008-87D3B0A62F77}" presName="sp" presStyleCnt="0"/>
      <dgm:spPr/>
    </dgm:pt>
    <dgm:pt modelId="{40FD3898-B1E5-3542-9DD9-7062759127CF}" type="pres">
      <dgm:prSet presAssocID="{31A1188A-D58C-0540-971B-9C33A3D30EC2}" presName="linNode" presStyleCnt="0"/>
      <dgm:spPr/>
    </dgm:pt>
    <dgm:pt modelId="{B1C09CFA-5BB7-EB4C-A384-D126A17254D2}" type="pres">
      <dgm:prSet presAssocID="{31A1188A-D58C-0540-971B-9C33A3D30EC2}" presName="parentText" presStyleLbl="node1" presStyleIdx="3" presStyleCnt="4">
        <dgm:presLayoutVars>
          <dgm:chMax val="1"/>
          <dgm:bulletEnabled val="1"/>
        </dgm:presLayoutVars>
      </dgm:prSet>
      <dgm:spPr/>
    </dgm:pt>
    <dgm:pt modelId="{1A08C2F4-B0D0-C944-A3D8-10732B5505B0}" type="pres">
      <dgm:prSet presAssocID="{31A1188A-D58C-0540-971B-9C33A3D30EC2}" presName="descendantText" presStyleLbl="alignAccFollowNode1" presStyleIdx="3" presStyleCnt="4">
        <dgm:presLayoutVars>
          <dgm:bulletEnabled val="1"/>
        </dgm:presLayoutVars>
      </dgm:prSet>
      <dgm:spPr/>
    </dgm:pt>
  </dgm:ptLst>
  <dgm:cxnLst>
    <dgm:cxn modelId="{B4841303-304F-0A47-B523-DE7207C7A25D}" srcId="{94E6805B-7EEA-1B45-B684-486D18CDFAE6}" destId="{46343FB2-BF0E-984D-BA82-F51E8408B3D0}" srcOrd="0" destOrd="0" parTransId="{F4B92B2F-BCD2-6B42-BB5F-17F8AF33DDE9}" sibTransId="{2B99148E-290D-6749-A0C3-2A1373F33CFE}"/>
    <dgm:cxn modelId="{1E4F620B-4CA6-CE4B-9919-19BE4A2844E5}" srcId="{31A1188A-D58C-0540-971B-9C33A3D30EC2}" destId="{8245F97E-2928-4C4F-A5A1-85C48CFB77F7}" srcOrd="0" destOrd="0" parTransId="{02B8DE5D-C776-3B4D-86C6-20844286A6E7}" sibTransId="{A0EEF837-73BF-4943-8FF4-8D478F8A8D70}"/>
    <dgm:cxn modelId="{4720061A-7365-B343-943F-61CB25429E7A}" srcId="{EFF30E84-8AB4-984D-AFFD-B5A0DAC4A4B3}" destId="{94E6805B-7EEA-1B45-B684-486D18CDFAE6}" srcOrd="1" destOrd="0" parTransId="{9F06BB5F-86F6-0143-A75E-22D19776B7EA}" sibTransId="{02A781BC-CC04-4A44-BC97-7D756F614D5F}"/>
    <dgm:cxn modelId="{BDD49626-5079-C441-9C6D-208C7D0DECF4}" srcId="{EFF30E84-8AB4-984D-AFFD-B5A0DAC4A4B3}" destId="{31A1188A-D58C-0540-971B-9C33A3D30EC2}" srcOrd="3" destOrd="0" parTransId="{C47E5AC1-1D83-594E-95A5-B772C2E3C021}" sibTransId="{839E6BBD-41F6-D441-8D88-687F480EFD01}"/>
    <dgm:cxn modelId="{8C396827-2864-6649-8D2F-76387D2F4FEB}" type="presOf" srcId="{BA0EBEF8-2084-1340-9F9A-86961DF89729}" destId="{0AE76784-5D59-A743-AA47-5BB59FA4DAB7}" srcOrd="0" destOrd="0" presId="urn:microsoft.com/office/officeart/2005/8/layout/vList5"/>
    <dgm:cxn modelId="{491D542F-DC09-F446-A2BB-FD92400720F4}" srcId="{EFF30E84-8AB4-984D-AFFD-B5A0DAC4A4B3}" destId="{3A2FBCA2-17D0-144B-88D5-8ACD1362896E}" srcOrd="0" destOrd="0" parTransId="{0251F9F4-D6DB-D04D-B29B-864D8F832BBA}" sibTransId="{2E9D87D8-421A-B745-9B40-DCAF99EBE77F}"/>
    <dgm:cxn modelId="{D35AB237-0508-5A48-80FB-AEDF225CA203}" srcId="{C18132FD-8AD6-784B-84F3-927647808057}" destId="{95DAD088-7E95-CA40-8879-4E28263347DA}" srcOrd="0" destOrd="0" parTransId="{0629E407-E357-D94A-85DD-F4A2381BCAE5}" sibTransId="{DAD283B9-E08A-8047-89DB-6E7E5A9CBBE7}"/>
    <dgm:cxn modelId="{7AD13945-572C-E341-91C5-5AD378C6572D}" srcId="{31A1188A-D58C-0540-971B-9C33A3D30EC2}" destId="{42AD3085-0062-D749-B396-2F682CE0D38E}" srcOrd="1" destOrd="0" parTransId="{4E78CDB2-67F9-8C4E-AC0E-0E1646C8818E}" sibTransId="{B4AD2DD3-786D-1141-92F9-E11814C921C0}"/>
    <dgm:cxn modelId="{27221456-A9E8-CE41-AF5B-6F9C4ADE0884}" srcId="{EFF30E84-8AB4-984D-AFFD-B5A0DAC4A4B3}" destId="{C18132FD-8AD6-784B-84F3-927647808057}" srcOrd="2" destOrd="0" parTransId="{7F506723-3CE9-AB43-8151-16E0387ABA92}" sibTransId="{6D960225-AB09-A046-B008-87D3B0A62F77}"/>
    <dgm:cxn modelId="{EB2E445D-8BD2-3D48-8EEF-A74EF1EBFB6F}" type="presOf" srcId="{31A1188A-D58C-0540-971B-9C33A3D30EC2}" destId="{B1C09CFA-5BB7-EB4C-A384-D126A17254D2}" srcOrd="0" destOrd="0" presId="urn:microsoft.com/office/officeart/2005/8/layout/vList5"/>
    <dgm:cxn modelId="{EB89C16E-B34E-7141-9901-2E1663BCE5DF}" type="presOf" srcId="{3A2FBCA2-17D0-144B-88D5-8ACD1362896E}" destId="{52061A9D-7382-2E4F-836A-E3E9AFEFA3C3}" srcOrd="0" destOrd="0" presId="urn:microsoft.com/office/officeart/2005/8/layout/vList5"/>
    <dgm:cxn modelId="{1DA1AAA1-0900-3245-9642-6D0B8FB759C9}" type="presOf" srcId="{8245F97E-2928-4C4F-A5A1-85C48CFB77F7}" destId="{1A08C2F4-B0D0-C944-A3D8-10732B5505B0}" srcOrd="0" destOrd="0" presId="urn:microsoft.com/office/officeart/2005/8/layout/vList5"/>
    <dgm:cxn modelId="{C96F1EA7-ECA0-3F40-BA8C-B4208BFD8D9B}" srcId="{3A2FBCA2-17D0-144B-88D5-8ACD1362896E}" destId="{BA0EBEF8-2084-1340-9F9A-86961DF89729}" srcOrd="0" destOrd="0" parTransId="{F46EDC1B-2439-5D4D-829D-DCD367FAD299}" sibTransId="{DD268282-2CAD-F040-9971-5BB07441A20D}"/>
    <dgm:cxn modelId="{8E9007AA-5415-7448-9AC6-AB2F788D8923}" type="presOf" srcId="{46343FB2-BF0E-984D-BA82-F51E8408B3D0}" destId="{60BE5020-082D-AF49-8633-E123F720801E}" srcOrd="0" destOrd="0" presId="urn:microsoft.com/office/officeart/2005/8/layout/vList5"/>
    <dgm:cxn modelId="{C89A31B1-894F-3E42-9DD0-FEEA8B9E11CE}" type="presOf" srcId="{C18132FD-8AD6-784B-84F3-927647808057}" destId="{F6C3F537-6E74-4E4D-83EE-39724C655B87}" srcOrd="0" destOrd="0" presId="urn:microsoft.com/office/officeart/2005/8/layout/vList5"/>
    <dgm:cxn modelId="{7CE7A5CA-16CE-494B-8AD7-B83A325688CD}" srcId="{94E6805B-7EEA-1B45-B684-486D18CDFAE6}" destId="{04188F43-B321-3245-AE98-4913C42C3749}" srcOrd="1" destOrd="0" parTransId="{DF5D4908-FF4E-0D4E-B8B9-7F04531A87C2}" sibTransId="{2DAE97A7-57BE-1842-B9A7-3A5E51F330BC}"/>
    <dgm:cxn modelId="{BE5D41CD-92B6-3947-B8C2-70E324D885E7}" type="presOf" srcId="{94E6805B-7EEA-1B45-B684-486D18CDFAE6}" destId="{629DAA03-DA31-0C4A-B441-2E198200C4D0}" srcOrd="0" destOrd="0" presId="urn:microsoft.com/office/officeart/2005/8/layout/vList5"/>
    <dgm:cxn modelId="{56123AD2-2CD3-1D47-9C8D-B66E7DEB873A}" type="presOf" srcId="{42AD3085-0062-D749-B396-2F682CE0D38E}" destId="{1A08C2F4-B0D0-C944-A3D8-10732B5505B0}" srcOrd="0" destOrd="1" presId="urn:microsoft.com/office/officeart/2005/8/layout/vList5"/>
    <dgm:cxn modelId="{5A4491DD-7EB5-5144-8442-FFF346846FAA}" type="presOf" srcId="{C7869D30-11C1-9247-AD9F-14B0F2596B00}" destId="{358B8DCD-C6CF-A249-B257-B9B0C3C2D81B}" srcOrd="0" destOrd="1" presId="urn:microsoft.com/office/officeart/2005/8/layout/vList5"/>
    <dgm:cxn modelId="{DEE334EA-3A55-B944-ADAD-AC0AAF973314}" srcId="{C18132FD-8AD6-784B-84F3-927647808057}" destId="{C7869D30-11C1-9247-AD9F-14B0F2596B00}" srcOrd="1" destOrd="0" parTransId="{EF113F7C-23F3-4B48-B42A-6550B7CFA222}" sibTransId="{82B68BAA-9877-8543-AD15-3ADCCCFF1A9B}"/>
    <dgm:cxn modelId="{AB9A01EF-96E0-F648-81F3-0831669E816E}" type="presOf" srcId="{95DAD088-7E95-CA40-8879-4E28263347DA}" destId="{358B8DCD-C6CF-A249-B257-B9B0C3C2D81B}" srcOrd="0" destOrd="0" presId="urn:microsoft.com/office/officeart/2005/8/layout/vList5"/>
    <dgm:cxn modelId="{6B0A8CF2-5B5F-4C43-8098-CDE58B6D9CD9}" type="presOf" srcId="{EFF30E84-8AB4-984D-AFFD-B5A0DAC4A4B3}" destId="{1AFDE019-39D7-2244-B19E-2A352F7D7A4F}" srcOrd="0" destOrd="0" presId="urn:microsoft.com/office/officeart/2005/8/layout/vList5"/>
    <dgm:cxn modelId="{471C10F3-50D1-A44E-9FC6-53738C8B6BD3}" type="presOf" srcId="{04188F43-B321-3245-AE98-4913C42C3749}" destId="{60BE5020-082D-AF49-8633-E123F720801E}" srcOrd="0" destOrd="1" presId="urn:microsoft.com/office/officeart/2005/8/layout/vList5"/>
    <dgm:cxn modelId="{3BD91879-DA67-8340-93FD-59921863A2D4}" type="presParOf" srcId="{1AFDE019-39D7-2244-B19E-2A352F7D7A4F}" destId="{E9D40DF9-12BA-E94D-9E24-1382E9E4BD69}" srcOrd="0" destOrd="0" presId="urn:microsoft.com/office/officeart/2005/8/layout/vList5"/>
    <dgm:cxn modelId="{AC3D1443-1042-284F-890C-77AD1C527A8F}" type="presParOf" srcId="{E9D40DF9-12BA-E94D-9E24-1382E9E4BD69}" destId="{52061A9D-7382-2E4F-836A-E3E9AFEFA3C3}" srcOrd="0" destOrd="0" presId="urn:microsoft.com/office/officeart/2005/8/layout/vList5"/>
    <dgm:cxn modelId="{3B5DE3AB-01CA-7B43-BF58-38E81C461A40}" type="presParOf" srcId="{E9D40DF9-12BA-E94D-9E24-1382E9E4BD69}" destId="{0AE76784-5D59-A743-AA47-5BB59FA4DAB7}" srcOrd="1" destOrd="0" presId="urn:microsoft.com/office/officeart/2005/8/layout/vList5"/>
    <dgm:cxn modelId="{0A8D96B3-D61C-BC44-A9E4-615FC520BD14}" type="presParOf" srcId="{1AFDE019-39D7-2244-B19E-2A352F7D7A4F}" destId="{CC68081B-4E0F-9B4E-AF3B-76C640AFA8EA}" srcOrd="1" destOrd="0" presId="urn:microsoft.com/office/officeart/2005/8/layout/vList5"/>
    <dgm:cxn modelId="{94F02B7D-13C2-7047-A0EC-8258E9B826F9}" type="presParOf" srcId="{1AFDE019-39D7-2244-B19E-2A352F7D7A4F}" destId="{EFBB7E66-A635-B240-A07E-FD200C1F7085}" srcOrd="2" destOrd="0" presId="urn:microsoft.com/office/officeart/2005/8/layout/vList5"/>
    <dgm:cxn modelId="{7EDC12F6-F8AB-BD4E-9A5C-A65AC2EBE4F6}" type="presParOf" srcId="{EFBB7E66-A635-B240-A07E-FD200C1F7085}" destId="{629DAA03-DA31-0C4A-B441-2E198200C4D0}" srcOrd="0" destOrd="0" presId="urn:microsoft.com/office/officeart/2005/8/layout/vList5"/>
    <dgm:cxn modelId="{21CEE5A2-F78F-C74A-A1EF-3D110003E9C9}" type="presParOf" srcId="{EFBB7E66-A635-B240-A07E-FD200C1F7085}" destId="{60BE5020-082D-AF49-8633-E123F720801E}" srcOrd="1" destOrd="0" presId="urn:microsoft.com/office/officeart/2005/8/layout/vList5"/>
    <dgm:cxn modelId="{D8E492FB-3FCE-244B-A24D-7D658073B341}" type="presParOf" srcId="{1AFDE019-39D7-2244-B19E-2A352F7D7A4F}" destId="{D9CD2305-A4EC-6A4E-AEEE-6AFCF4B786EB}" srcOrd="3" destOrd="0" presId="urn:microsoft.com/office/officeart/2005/8/layout/vList5"/>
    <dgm:cxn modelId="{0F539CDA-4BD9-0E40-B50F-9225E931E682}" type="presParOf" srcId="{1AFDE019-39D7-2244-B19E-2A352F7D7A4F}" destId="{891B369A-286D-D040-8A6B-53F36CF70E1D}" srcOrd="4" destOrd="0" presId="urn:microsoft.com/office/officeart/2005/8/layout/vList5"/>
    <dgm:cxn modelId="{3AE02D41-15B6-034A-9257-7C1F9BDAC38A}" type="presParOf" srcId="{891B369A-286D-D040-8A6B-53F36CF70E1D}" destId="{F6C3F537-6E74-4E4D-83EE-39724C655B87}" srcOrd="0" destOrd="0" presId="urn:microsoft.com/office/officeart/2005/8/layout/vList5"/>
    <dgm:cxn modelId="{4C0927BA-F9E3-C54F-A043-6078CFD84F4C}" type="presParOf" srcId="{891B369A-286D-D040-8A6B-53F36CF70E1D}" destId="{358B8DCD-C6CF-A249-B257-B9B0C3C2D81B}" srcOrd="1" destOrd="0" presId="urn:microsoft.com/office/officeart/2005/8/layout/vList5"/>
    <dgm:cxn modelId="{D5772429-B6AC-5848-BD25-7513C65D276B}" type="presParOf" srcId="{1AFDE019-39D7-2244-B19E-2A352F7D7A4F}" destId="{FA42F64B-9895-8145-BFF0-1F737CA09607}" srcOrd="5" destOrd="0" presId="urn:microsoft.com/office/officeart/2005/8/layout/vList5"/>
    <dgm:cxn modelId="{AF0723C0-F958-2F41-A2C4-817CCEF274C9}" type="presParOf" srcId="{1AFDE019-39D7-2244-B19E-2A352F7D7A4F}" destId="{40FD3898-B1E5-3542-9DD9-7062759127CF}" srcOrd="6" destOrd="0" presId="urn:microsoft.com/office/officeart/2005/8/layout/vList5"/>
    <dgm:cxn modelId="{6EE321BB-80F0-5B4B-9B6F-A742F33602BD}" type="presParOf" srcId="{40FD3898-B1E5-3542-9DD9-7062759127CF}" destId="{B1C09CFA-5BB7-EB4C-A384-D126A17254D2}" srcOrd="0" destOrd="0" presId="urn:microsoft.com/office/officeart/2005/8/layout/vList5"/>
    <dgm:cxn modelId="{2CC3C613-A472-BB41-BD70-54FE347FD828}" type="presParOf" srcId="{40FD3898-B1E5-3542-9DD9-7062759127CF}" destId="{1A08C2F4-B0D0-C944-A3D8-10732B5505B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AFC22A0-EA30-2744-83DC-22EDEE9739FE}" type="doc">
      <dgm:prSet loTypeId="urn:microsoft.com/office/officeart/2009/3/layout/HorizontalOrganizationChart" loCatId="" qsTypeId="urn:microsoft.com/office/officeart/2005/8/quickstyle/simple1" qsCatId="simple" csTypeId="urn:microsoft.com/office/officeart/2005/8/colors/colorful1" csCatId="colorful" phldr="1"/>
      <dgm:spPr/>
      <dgm:t>
        <a:bodyPr/>
        <a:lstStyle/>
        <a:p>
          <a:endParaRPr lang="en-US"/>
        </a:p>
      </dgm:t>
    </dgm:pt>
    <dgm:pt modelId="{153546E0-3490-054F-849C-4D8E7F40F9AC}">
      <dgm:prSet phldrT="[Text]"/>
      <dgm:spPr/>
      <dgm:t>
        <a:bodyPr/>
        <a:lstStyle/>
        <a:p>
          <a:r>
            <a:rPr lang="en-US" b="1" dirty="0"/>
            <a:t>Pattern Form*</a:t>
          </a:r>
        </a:p>
      </dgm:t>
    </dgm:pt>
    <dgm:pt modelId="{852264B5-88B5-E646-84CD-F4A5338E4B98}" type="parTrans" cxnId="{D69C092D-821B-2543-919F-431E37F9724D}">
      <dgm:prSet/>
      <dgm:spPr/>
      <dgm:t>
        <a:bodyPr/>
        <a:lstStyle/>
        <a:p>
          <a:endParaRPr lang="en-US"/>
        </a:p>
      </dgm:t>
    </dgm:pt>
    <dgm:pt modelId="{23536B86-35C5-1345-B51E-5840F1DB093C}" type="sibTrans" cxnId="{D69C092D-821B-2543-919F-431E37F9724D}">
      <dgm:prSet/>
      <dgm:spPr/>
      <dgm:t>
        <a:bodyPr/>
        <a:lstStyle/>
        <a:p>
          <a:endParaRPr lang="en-US" dirty="0"/>
        </a:p>
      </dgm:t>
    </dgm:pt>
    <dgm:pt modelId="{526E8368-2F9F-074A-8A1E-FF4998D0F1C4}">
      <dgm:prSet phldrT="[Text]"/>
      <dgm:spPr/>
      <dgm:t>
        <a:bodyPr/>
        <a:lstStyle/>
        <a:p>
          <a:r>
            <a:rPr lang="en-US" b="1" dirty="0"/>
            <a:t>Pattern Name</a:t>
          </a:r>
        </a:p>
      </dgm:t>
    </dgm:pt>
    <dgm:pt modelId="{827048D1-0C64-9E4A-977C-9A28CF006D20}" type="parTrans" cxnId="{04CD30A7-741F-AB42-A494-65DDCCD201BC}">
      <dgm:prSet/>
      <dgm:spPr/>
      <dgm:t>
        <a:bodyPr/>
        <a:lstStyle/>
        <a:p>
          <a:endParaRPr lang="en-US"/>
        </a:p>
      </dgm:t>
    </dgm:pt>
    <dgm:pt modelId="{7629C966-B963-5743-8C14-E2302A6419D5}" type="sibTrans" cxnId="{04CD30A7-741F-AB42-A494-65DDCCD201BC}">
      <dgm:prSet/>
      <dgm:spPr/>
      <dgm:t>
        <a:bodyPr/>
        <a:lstStyle/>
        <a:p>
          <a:endParaRPr lang="en-US"/>
        </a:p>
      </dgm:t>
    </dgm:pt>
    <dgm:pt modelId="{ABEBEA11-C82A-3342-8246-4713E46D067A}">
      <dgm:prSet phldrT="[Text]"/>
      <dgm:spPr/>
      <dgm:t>
        <a:bodyPr/>
        <a:lstStyle/>
        <a:p>
          <a:r>
            <a:rPr lang="en-US" b="1" dirty="0"/>
            <a:t>Summary</a:t>
          </a:r>
        </a:p>
      </dgm:t>
    </dgm:pt>
    <dgm:pt modelId="{9CC0B900-4B49-0A43-B54E-11AE06833C45}" type="parTrans" cxnId="{0BCC0FA3-2C2C-0246-9361-69F2DD770A7C}">
      <dgm:prSet/>
      <dgm:spPr/>
      <dgm:t>
        <a:bodyPr/>
        <a:lstStyle/>
        <a:p>
          <a:endParaRPr lang="en-US"/>
        </a:p>
      </dgm:t>
    </dgm:pt>
    <dgm:pt modelId="{54DB5A57-8AB8-1F44-A6B1-343B45697ED8}" type="sibTrans" cxnId="{0BCC0FA3-2C2C-0246-9361-69F2DD770A7C}">
      <dgm:prSet/>
      <dgm:spPr/>
      <dgm:t>
        <a:bodyPr/>
        <a:lstStyle/>
        <a:p>
          <a:endParaRPr lang="en-US"/>
        </a:p>
      </dgm:t>
    </dgm:pt>
    <dgm:pt modelId="{7A0049F3-FA04-6C4B-B33F-043E7A980B20}">
      <dgm:prSet phldrT="[Text]"/>
      <dgm:spPr/>
      <dgm:t>
        <a:bodyPr/>
        <a:lstStyle/>
        <a:p>
          <a:r>
            <a:rPr lang="en-US" b="1" dirty="0"/>
            <a:t>Context</a:t>
          </a:r>
        </a:p>
      </dgm:t>
    </dgm:pt>
    <dgm:pt modelId="{EE9CBBF9-B25D-144C-B565-3B6AF4D70FB2}" type="parTrans" cxnId="{DB1952D1-138E-CE4D-BC2F-DBCEBAF37239}">
      <dgm:prSet/>
      <dgm:spPr/>
      <dgm:t>
        <a:bodyPr/>
        <a:lstStyle/>
        <a:p>
          <a:endParaRPr lang="en-US"/>
        </a:p>
      </dgm:t>
    </dgm:pt>
    <dgm:pt modelId="{E541CE3D-B0BE-F94C-B75B-CF3BEC7FB946}" type="sibTrans" cxnId="{DB1952D1-138E-CE4D-BC2F-DBCEBAF37239}">
      <dgm:prSet/>
      <dgm:spPr/>
      <dgm:t>
        <a:bodyPr/>
        <a:lstStyle/>
        <a:p>
          <a:endParaRPr lang="en-US"/>
        </a:p>
      </dgm:t>
    </dgm:pt>
    <dgm:pt modelId="{D3F3420D-5D24-664E-8E66-5517D176FB1D}">
      <dgm:prSet phldrT="[Text]"/>
      <dgm:spPr/>
      <dgm:t>
        <a:bodyPr/>
        <a:lstStyle/>
        <a:p>
          <a:r>
            <a:rPr lang="en-US" b="1" dirty="0"/>
            <a:t>Problem Statement</a:t>
          </a:r>
        </a:p>
      </dgm:t>
    </dgm:pt>
    <dgm:pt modelId="{FF949A33-2418-CA45-B875-8755F5339D01}" type="parTrans" cxnId="{3E2186F0-A934-1645-BBB3-052067C35433}">
      <dgm:prSet/>
      <dgm:spPr/>
      <dgm:t>
        <a:bodyPr/>
        <a:lstStyle/>
        <a:p>
          <a:endParaRPr lang="en-US"/>
        </a:p>
      </dgm:t>
    </dgm:pt>
    <dgm:pt modelId="{CC7C3AE3-A0F4-AF4F-8C09-562962917790}" type="sibTrans" cxnId="{3E2186F0-A934-1645-BBB3-052067C35433}">
      <dgm:prSet/>
      <dgm:spPr/>
      <dgm:t>
        <a:bodyPr/>
        <a:lstStyle/>
        <a:p>
          <a:endParaRPr lang="en-US"/>
        </a:p>
      </dgm:t>
    </dgm:pt>
    <dgm:pt modelId="{92703CDA-4C94-3E4F-8B2E-F46E14AA2FF2}">
      <dgm:prSet phldrT="[Text]"/>
      <dgm:spPr/>
      <dgm:t>
        <a:bodyPr/>
        <a:lstStyle/>
        <a:p>
          <a:r>
            <a:rPr lang="en-US" b="1" dirty="0"/>
            <a:t>Force</a:t>
          </a:r>
        </a:p>
      </dgm:t>
    </dgm:pt>
    <dgm:pt modelId="{3845B904-0561-0049-BF78-F2B06C3E47EB}" type="parTrans" cxnId="{760AA024-3DB7-C143-8D72-FD7B87140DA1}">
      <dgm:prSet/>
      <dgm:spPr/>
      <dgm:t>
        <a:bodyPr/>
        <a:lstStyle/>
        <a:p>
          <a:endParaRPr lang="en-US"/>
        </a:p>
      </dgm:t>
    </dgm:pt>
    <dgm:pt modelId="{D3DEC5FD-D4CB-FA46-840F-03D6974508A5}" type="sibTrans" cxnId="{760AA024-3DB7-C143-8D72-FD7B87140DA1}">
      <dgm:prSet/>
      <dgm:spPr/>
      <dgm:t>
        <a:bodyPr/>
        <a:lstStyle/>
        <a:p>
          <a:endParaRPr lang="en-US" dirty="0"/>
        </a:p>
      </dgm:t>
    </dgm:pt>
    <dgm:pt modelId="{3E83E951-8A57-1D42-8014-05C2744BFADF}">
      <dgm:prSet phldrT="[Text]"/>
      <dgm:spPr/>
      <dgm:t>
        <a:bodyPr/>
        <a:lstStyle/>
        <a:p>
          <a:r>
            <a:rPr lang="en-US" b="1" dirty="0"/>
            <a:t>Solution</a:t>
          </a:r>
        </a:p>
      </dgm:t>
    </dgm:pt>
    <dgm:pt modelId="{E8BDF334-A533-D642-B8F1-19F376A08EF0}" type="parTrans" cxnId="{C4F332A0-6CEF-E14B-8390-0055B5111F86}">
      <dgm:prSet/>
      <dgm:spPr/>
      <dgm:t>
        <a:bodyPr/>
        <a:lstStyle/>
        <a:p>
          <a:endParaRPr lang="en-US"/>
        </a:p>
      </dgm:t>
    </dgm:pt>
    <dgm:pt modelId="{94C35535-57D7-204D-807F-6CAB93A5C3C4}" type="sibTrans" cxnId="{C4F332A0-6CEF-E14B-8390-0055B5111F86}">
      <dgm:prSet/>
      <dgm:spPr/>
      <dgm:t>
        <a:bodyPr/>
        <a:lstStyle/>
        <a:p>
          <a:endParaRPr lang="en-US"/>
        </a:p>
      </dgm:t>
    </dgm:pt>
    <dgm:pt modelId="{9FAA9E2D-612D-5A40-9D1A-46E213180B21}">
      <dgm:prSet phldrT="[Text]"/>
      <dgm:spPr/>
      <dgm:t>
        <a:bodyPr/>
        <a:lstStyle/>
        <a:p>
          <a:r>
            <a:rPr lang="en-US" b="1" dirty="0"/>
            <a:t>Consequences</a:t>
          </a:r>
        </a:p>
      </dgm:t>
    </dgm:pt>
    <dgm:pt modelId="{7FC37BFE-5DE9-9C4E-AFD1-063DAFD22087}" type="parTrans" cxnId="{4B40FBE6-E7A5-7F44-A1D5-2E0332F4CC96}">
      <dgm:prSet/>
      <dgm:spPr/>
      <dgm:t>
        <a:bodyPr/>
        <a:lstStyle/>
        <a:p>
          <a:endParaRPr lang="en-US"/>
        </a:p>
      </dgm:t>
    </dgm:pt>
    <dgm:pt modelId="{8A2B82F5-4386-594E-A758-3DB06AF6FBDA}" type="sibTrans" cxnId="{4B40FBE6-E7A5-7F44-A1D5-2E0332F4CC96}">
      <dgm:prSet/>
      <dgm:spPr/>
      <dgm:t>
        <a:bodyPr/>
        <a:lstStyle/>
        <a:p>
          <a:endParaRPr lang="en-US"/>
        </a:p>
      </dgm:t>
    </dgm:pt>
    <dgm:pt modelId="{3CCEBE12-34B3-8D44-BF9F-71F65C0DC031}">
      <dgm:prSet phldrT="[Text]"/>
      <dgm:spPr/>
      <dgm:t>
        <a:bodyPr/>
        <a:lstStyle/>
        <a:p>
          <a:r>
            <a:rPr lang="en-US" b="1" dirty="0"/>
            <a:t>Known uses</a:t>
          </a:r>
        </a:p>
      </dgm:t>
    </dgm:pt>
    <dgm:pt modelId="{852BC08E-A301-9844-B60F-3025E9932631}" type="parTrans" cxnId="{8D0A6114-E5C6-1642-907C-9D2E0411982F}">
      <dgm:prSet/>
      <dgm:spPr/>
      <dgm:t>
        <a:bodyPr/>
        <a:lstStyle/>
        <a:p>
          <a:endParaRPr lang="en-US"/>
        </a:p>
      </dgm:t>
    </dgm:pt>
    <dgm:pt modelId="{2BE93E6D-7397-6746-B225-9702B72D7594}" type="sibTrans" cxnId="{8D0A6114-E5C6-1642-907C-9D2E0411982F}">
      <dgm:prSet/>
      <dgm:spPr/>
      <dgm:t>
        <a:bodyPr/>
        <a:lstStyle/>
        <a:p>
          <a:endParaRPr lang="en-US"/>
        </a:p>
      </dgm:t>
    </dgm:pt>
    <dgm:pt modelId="{489C5FA4-BB16-7F4D-B110-7977E47335B5}">
      <dgm:prSet phldrT="[Text]"/>
      <dgm:spPr>
        <a:solidFill>
          <a:srgbClr val="0070C0"/>
        </a:solidFill>
      </dgm:spPr>
      <dgm:t>
        <a:bodyPr/>
        <a:lstStyle/>
        <a:p>
          <a:r>
            <a:rPr lang="en-US" b="1" dirty="0"/>
            <a:t>Benefits</a:t>
          </a:r>
        </a:p>
      </dgm:t>
    </dgm:pt>
    <dgm:pt modelId="{ACCE4294-DD74-DC47-BF5F-559B814E72F3}" type="parTrans" cxnId="{6CEC512A-FD67-8048-80D2-2DDDCE19DAE4}">
      <dgm:prSet/>
      <dgm:spPr/>
      <dgm:t>
        <a:bodyPr/>
        <a:lstStyle/>
        <a:p>
          <a:endParaRPr lang="en-US"/>
        </a:p>
      </dgm:t>
    </dgm:pt>
    <dgm:pt modelId="{B89ABE40-F217-CB4D-A458-D2B9E0D7D852}" type="sibTrans" cxnId="{6CEC512A-FD67-8048-80D2-2DDDCE19DAE4}">
      <dgm:prSet/>
      <dgm:spPr/>
      <dgm:t>
        <a:bodyPr/>
        <a:lstStyle/>
        <a:p>
          <a:endParaRPr lang="en-US"/>
        </a:p>
      </dgm:t>
    </dgm:pt>
    <dgm:pt modelId="{D4F348A8-0BED-A347-A143-9BDFAD73A1FF}">
      <dgm:prSet phldrT="[Text]"/>
      <dgm:spPr>
        <a:solidFill>
          <a:srgbClr val="0070C0"/>
        </a:solidFill>
      </dgm:spPr>
      <dgm:t>
        <a:bodyPr/>
        <a:lstStyle/>
        <a:p>
          <a:r>
            <a:rPr lang="en-US" b="1" dirty="0"/>
            <a:t>Drawbacks</a:t>
          </a:r>
        </a:p>
      </dgm:t>
    </dgm:pt>
    <dgm:pt modelId="{4935866C-01D0-514D-B46F-459E4B1ACE7C}" type="parTrans" cxnId="{14136D20-10BE-6F42-8E3C-152B24CCE218}">
      <dgm:prSet/>
      <dgm:spPr/>
      <dgm:t>
        <a:bodyPr/>
        <a:lstStyle/>
        <a:p>
          <a:endParaRPr lang="en-US"/>
        </a:p>
      </dgm:t>
    </dgm:pt>
    <dgm:pt modelId="{A50DD61E-F023-7E42-B04B-DB3F0603EA17}" type="sibTrans" cxnId="{14136D20-10BE-6F42-8E3C-152B24CCE218}">
      <dgm:prSet/>
      <dgm:spPr/>
      <dgm:t>
        <a:bodyPr/>
        <a:lstStyle/>
        <a:p>
          <a:endParaRPr lang="en-US"/>
        </a:p>
      </dgm:t>
    </dgm:pt>
    <dgm:pt modelId="{29D6A3C1-F671-3943-9A95-B3CBF4CE5707}">
      <dgm:prSet phldrT="[Text]"/>
      <dgm:spPr/>
      <dgm:t>
        <a:bodyPr/>
        <a:lstStyle/>
        <a:p>
          <a:r>
            <a:rPr lang="en-US" b="1" dirty="0"/>
            <a:t>Related patterns</a:t>
          </a:r>
        </a:p>
      </dgm:t>
    </dgm:pt>
    <dgm:pt modelId="{5DB6169A-EEA7-8A48-B219-4B8CC17AFE19}" type="parTrans" cxnId="{AD35476E-2AEE-CE42-A27D-6C6D95C867C4}">
      <dgm:prSet/>
      <dgm:spPr/>
      <dgm:t>
        <a:bodyPr/>
        <a:lstStyle/>
        <a:p>
          <a:endParaRPr lang="en-US"/>
        </a:p>
      </dgm:t>
    </dgm:pt>
    <dgm:pt modelId="{9101B7F7-6049-0A46-8839-24606113BCB2}" type="sibTrans" cxnId="{AD35476E-2AEE-CE42-A27D-6C6D95C867C4}">
      <dgm:prSet/>
      <dgm:spPr/>
      <dgm:t>
        <a:bodyPr/>
        <a:lstStyle/>
        <a:p>
          <a:endParaRPr lang="en-US"/>
        </a:p>
      </dgm:t>
    </dgm:pt>
    <dgm:pt modelId="{3EADF818-BD1D-B049-9499-E837ABC3F620}" type="pres">
      <dgm:prSet presAssocID="{3AFC22A0-EA30-2744-83DC-22EDEE9739FE}" presName="hierChild1" presStyleCnt="0">
        <dgm:presLayoutVars>
          <dgm:orgChart val="1"/>
          <dgm:chPref val="1"/>
          <dgm:dir/>
          <dgm:animOne val="branch"/>
          <dgm:animLvl val="lvl"/>
          <dgm:resizeHandles/>
        </dgm:presLayoutVars>
      </dgm:prSet>
      <dgm:spPr/>
    </dgm:pt>
    <dgm:pt modelId="{D6477084-FA43-4A40-8DD1-3D425BC18EA4}" type="pres">
      <dgm:prSet presAssocID="{153546E0-3490-054F-849C-4D8E7F40F9AC}" presName="hierRoot1" presStyleCnt="0">
        <dgm:presLayoutVars>
          <dgm:hierBranch val="init"/>
        </dgm:presLayoutVars>
      </dgm:prSet>
      <dgm:spPr/>
    </dgm:pt>
    <dgm:pt modelId="{81FD91E7-153F-E340-AFDA-227DAC33D025}" type="pres">
      <dgm:prSet presAssocID="{153546E0-3490-054F-849C-4D8E7F40F9AC}" presName="rootComposite1" presStyleCnt="0"/>
      <dgm:spPr/>
    </dgm:pt>
    <dgm:pt modelId="{DAF435B8-AC54-A04A-8555-5BB0F3161BCB}" type="pres">
      <dgm:prSet presAssocID="{153546E0-3490-054F-849C-4D8E7F40F9AC}" presName="rootText1" presStyleLbl="node0" presStyleIdx="0" presStyleCnt="1">
        <dgm:presLayoutVars>
          <dgm:chPref val="3"/>
        </dgm:presLayoutVars>
      </dgm:prSet>
      <dgm:spPr/>
    </dgm:pt>
    <dgm:pt modelId="{88ABABA2-3722-EC40-B021-7572C797B7EE}" type="pres">
      <dgm:prSet presAssocID="{153546E0-3490-054F-849C-4D8E7F40F9AC}" presName="rootConnector1" presStyleLbl="node1" presStyleIdx="0" presStyleCnt="0"/>
      <dgm:spPr/>
    </dgm:pt>
    <dgm:pt modelId="{23F6E1D9-2C0C-804A-B29E-0E4ED44BE5CE}" type="pres">
      <dgm:prSet presAssocID="{153546E0-3490-054F-849C-4D8E7F40F9AC}" presName="hierChild2" presStyleCnt="0"/>
      <dgm:spPr/>
    </dgm:pt>
    <dgm:pt modelId="{2EB48850-F88E-4446-A5F1-E491055A7AED}" type="pres">
      <dgm:prSet presAssocID="{827048D1-0C64-9E4A-977C-9A28CF006D20}" presName="Name64" presStyleLbl="parChTrans1D2" presStyleIdx="0" presStyleCnt="9"/>
      <dgm:spPr/>
    </dgm:pt>
    <dgm:pt modelId="{B22F6E30-8BE1-6846-A11D-72A994426CDE}" type="pres">
      <dgm:prSet presAssocID="{526E8368-2F9F-074A-8A1E-FF4998D0F1C4}" presName="hierRoot2" presStyleCnt="0">
        <dgm:presLayoutVars>
          <dgm:hierBranch val="init"/>
        </dgm:presLayoutVars>
      </dgm:prSet>
      <dgm:spPr/>
    </dgm:pt>
    <dgm:pt modelId="{DE30CE67-9FB4-6742-B5E3-A80D7BA2862C}" type="pres">
      <dgm:prSet presAssocID="{526E8368-2F9F-074A-8A1E-FF4998D0F1C4}" presName="rootComposite" presStyleCnt="0"/>
      <dgm:spPr/>
    </dgm:pt>
    <dgm:pt modelId="{693F533D-A577-C443-9BDD-EC20C54CF7CF}" type="pres">
      <dgm:prSet presAssocID="{526E8368-2F9F-074A-8A1E-FF4998D0F1C4}" presName="rootText" presStyleLbl="node2" presStyleIdx="0" presStyleCnt="9">
        <dgm:presLayoutVars>
          <dgm:chPref val="3"/>
        </dgm:presLayoutVars>
      </dgm:prSet>
      <dgm:spPr/>
    </dgm:pt>
    <dgm:pt modelId="{C900733E-715B-0D4B-9035-370EED05E2A6}" type="pres">
      <dgm:prSet presAssocID="{526E8368-2F9F-074A-8A1E-FF4998D0F1C4}" presName="rootConnector" presStyleLbl="node2" presStyleIdx="0" presStyleCnt="9"/>
      <dgm:spPr/>
    </dgm:pt>
    <dgm:pt modelId="{D07FFF6B-FDD2-C343-87B1-24188A0DF897}" type="pres">
      <dgm:prSet presAssocID="{526E8368-2F9F-074A-8A1E-FF4998D0F1C4}" presName="hierChild4" presStyleCnt="0"/>
      <dgm:spPr/>
    </dgm:pt>
    <dgm:pt modelId="{0DC65666-B14F-924E-BE18-244E4CB3C599}" type="pres">
      <dgm:prSet presAssocID="{526E8368-2F9F-074A-8A1E-FF4998D0F1C4}" presName="hierChild5" presStyleCnt="0"/>
      <dgm:spPr/>
    </dgm:pt>
    <dgm:pt modelId="{5025B89C-BFAC-1749-BA34-E9E89FC4E403}" type="pres">
      <dgm:prSet presAssocID="{9CC0B900-4B49-0A43-B54E-11AE06833C45}" presName="Name64" presStyleLbl="parChTrans1D2" presStyleIdx="1" presStyleCnt="9"/>
      <dgm:spPr/>
    </dgm:pt>
    <dgm:pt modelId="{85DF342A-4C72-DD4B-83E0-F392438250E6}" type="pres">
      <dgm:prSet presAssocID="{ABEBEA11-C82A-3342-8246-4713E46D067A}" presName="hierRoot2" presStyleCnt="0">
        <dgm:presLayoutVars>
          <dgm:hierBranch val="init"/>
        </dgm:presLayoutVars>
      </dgm:prSet>
      <dgm:spPr/>
    </dgm:pt>
    <dgm:pt modelId="{4BE5DCA1-D133-7C46-ABB1-0D171A537DAA}" type="pres">
      <dgm:prSet presAssocID="{ABEBEA11-C82A-3342-8246-4713E46D067A}" presName="rootComposite" presStyleCnt="0"/>
      <dgm:spPr/>
    </dgm:pt>
    <dgm:pt modelId="{04F0C9FB-1872-FD45-919D-CD509CC7ACD2}" type="pres">
      <dgm:prSet presAssocID="{ABEBEA11-C82A-3342-8246-4713E46D067A}" presName="rootText" presStyleLbl="node2" presStyleIdx="1" presStyleCnt="9">
        <dgm:presLayoutVars>
          <dgm:chPref val="3"/>
        </dgm:presLayoutVars>
      </dgm:prSet>
      <dgm:spPr/>
    </dgm:pt>
    <dgm:pt modelId="{4D714A61-ECC9-B449-937C-47DE61936903}" type="pres">
      <dgm:prSet presAssocID="{ABEBEA11-C82A-3342-8246-4713E46D067A}" presName="rootConnector" presStyleLbl="node2" presStyleIdx="1" presStyleCnt="9"/>
      <dgm:spPr/>
    </dgm:pt>
    <dgm:pt modelId="{5525697B-7922-DC40-84C1-EBAA141A3678}" type="pres">
      <dgm:prSet presAssocID="{ABEBEA11-C82A-3342-8246-4713E46D067A}" presName="hierChild4" presStyleCnt="0"/>
      <dgm:spPr/>
    </dgm:pt>
    <dgm:pt modelId="{D11EEA38-CB94-B649-A521-E829724500A4}" type="pres">
      <dgm:prSet presAssocID="{ABEBEA11-C82A-3342-8246-4713E46D067A}" presName="hierChild5" presStyleCnt="0"/>
      <dgm:spPr/>
    </dgm:pt>
    <dgm:pt modelId="{91A6EDE1-DEC0-964A-9560-6EF604D22C5C}" type="pres">
      <dgm:prSet presAssocID="{EE9CBBF9-B25D-144C-B565-3B6AF4D70FB2}" presName="Name64" presStyleLbl="parChTrans1D2" presStyleIdx="2" presStyleCnt="9"/>
      <dgm:spPr/>
    </dgm:pt>
    <dgm:pt modelId="{FA7542C5-FB48-0D4C-9912-6E21FF376F18}" type="pres">
      <dgm:prSet presAssocID="{7A0049F3-FA04-6C4B-B33F-043E7A980B20}" presName="hierRoot2" presStyleCnt="0">
        <dgm:presLayoutVars>
          <dgm:hierBranch val="init"/>
        </dgm:presLayoutVars>
      </dgm:prSet>
      <dgm:spPr/>
    </dgm:pt>
    <dgm:pt modelId="{915724A2-BA3A-F64D-87ED-E60C5A399B9F}" type="pres">
      <dgm:prSet presAssocID="{7A0049F3-FA04-6C4B-B33F-043E7A980B20}" presName="rootComposite" presStyleCnt="0"/>
      <dgm:spPr/>
    </dgm:pt>
    <dgm:pt modelId="{6D78F15A-B86A-5D47-9B8E-74E5AABA5DEE}" type="pres">
      <dgm:prSet presAssocID="{7A0049F3-FA04-6C4B-B33F-043E7A980B20}" presName="rootText" presStyleLbl="node2" presStyleIdx="2" presStyleCnt="9">
        <dgm:presLayoutVars>
          <dgm:chPref val="3"/>
        </dgm:presLayoutVars>
      </dgm:prSet>
      <dgm:spPr/>
    </dgm:pt>
    <dgm:pt modelId="{4750112A-3894-5D41-A379-CEBF565E64F6}" type="pres">
      <dgm:prSet presAssocID="{7A0049F3-FA04-6C4B-B33F-043E7A980B20}" presName="rootConnector" presStyleLbl="node2" presStyleIdx="2" presStyleCnt="9"/>
      <dgm:spPr/>
    </dgm:pt>
    <dgm:pt modelId="{EE8B2F2C-55F3-4542-A9F5-A482B4146717}" type="pres">
      <dgm:prSet presAssocID="{7A0049F3-FA04-6C4B-B33F-043E7A980B20}" presName="hierChild4" presStyleCnt="0"/>
      <dgm:spPr/>
    </dgm:pt>
    <dgm:pt modelId="{1FE5A672-CE0F-0C4E-ACBB-FA7F3E2707B8}" type="pres">
      <dgm:prSet presAssocID="{7A0049F3-FA04-6C4B-B33F-043E7A980B20}" presName="hierChild5" presStyleCnt="0"/>
      <dgm:spPr/>
    </dgm:pt>
    <dgm:pt modelId="{699F8DD7-7177-2E45-833E-F4DBA93E05F1}" type="pres">
      <dgm:prSet presAssocID="{FF949A33-2418-CA45-B875-8755F5339D01}" presName="Name64" presStyleLbl="parChTrans1D2" presStyleIdx="3" presStyleCnt="9"/>
      <dgm:spPr/>
    </dgm:pt>
    <dgm:pt modelId="{75963F74-4672-134E-9F2C-DB06C6A5A06F}" type="pres">
      <dgm:prSet presAssocID="{D3F3420D-5D24-664E-8E66-5517D176FB1D}" presName="hierRoot2" presStyleCnt="0">
        <dgm:presLayoutVars>
          <dgm:hierBranch val="init"/>
        </dgm:presLayoutVars>
      </dgm:prSet>
      <dgm:spPr/>
    </dgm:pt>
    <dgm:pt modelId="{E38C26ED-EEEC-F44C-8DCF-4AAC0D8CCBC7}" type="pres">
      <dgm:prSet presAssocID="{D3F3420D-5D24-664E-8E66-5517D176FB1D}" presName="rootComposite" presStyleCnt="0"/>
      <dgm:spPr/>
    </dgm:pt>
    <dgm:pt modelId="{52359433-2B0C-624E-8316-58A884DF6397}" type="pres">
      <dgm:prSet presAssocID="{D3F3420D-5D24-664E-8E66-5517D176FB1D}" presName="rootText" presStyleLbl="node2" presStyleIdx="3" presStyleCnt="9">
        <dgm:presLayoutVars>
          <dgm:chPref val="3"/>
        </dgm:presLayoutVars>
      </dgm:prSet>
      <dgm:spPr/>
    </dgm:pt>
    <dgm:pt modelId="{02EA0B59-0086-E84B-8E64-ED4BC9D03C03}" type="pres">
      <dgm:prSet presAssocID="{D3F3420D-5D24-664E-8E66-5517D176FB1D}" presName="rootConnector" presStyleLbl="node2" presStyleIdx="3" presStyleCnt="9"/>
      <dgm:spPr/>
    </dgm:pt>
    <dgm:pt modelId="{CC113A83-E54F-9A4B-BBD6-9D46E4A95E48}" type="pres">
      <dgm:prSet presAssocID="{D3F3420D-5D24-664E-8E66-5517D176FB1D}" presName="hierChild4" presStyleCnt="0"/>
      <dgm:spPr/>
    </dgm:pt>
    <dgm:pt modelId="{F15A4E55-44BD-1646-B4AA-725836315AA0}" type="pres">
      <dgm:prSet presAssocID="{D3F3420D-5D24-664E-8E66-5517D176FB1D}" presName="hierChild5" presStyleCnt="0"/>
      <dgm:spPr/>
    </dgm:pt>
    <dgm:pt modelId="{1B76CE1D-1986-3C42-8928-376342AF5685}" type="pres">
      <dgm:prSet presAssocID="{3845B904-0561-0049-BF78-F2B06C3E47EB}" presName="Name64" presStyleLbl="parChTrans1D2" presStyleIdx="4" presStyleCnt="9"/>
      <dgm:spPr/>
    </dgm:pt>
    <dgm:pt modelId="{812A18E4-4F7A-FA48-8905-936ADBEB4B0A}" type="pres">
      <dgm:prSet presAssocID="{92703CDA-4C94-3E4F-8B2E-F46E14AA2FF2}" presName="hierRoot2" presStyleCnt="0">
        <dgm:presLayoutVars>
          <dgm:hierBranch val="init"/>
        </dgm:presLayoutVars>
      </dgm:prSet>
      <dgm:spPr/>
    </dgm:pt>
    <dgm:pt modelId="{4129D7E6-A527-7242-BAD0-BBCF3EE4D5CE}" type="pres">
      <dgm:prSet presAssocID="{92703CDA-4C94-3E4F-8B2E-F46E14AA2FF2}" presName="rootComposite" presStyleCnt="0"/>
      <dgm:spPr/>
    </dgm:pt>
    <dgm:pt modelId="{F0A59A47-9F2A-4346-96DA-3115F6E50019}" type="pres">
      <dgm:prSet presAssocID="{92703CDA-4C94-3E4F-8B2E-F46E14AA2FF2}" presName="rootText" presStyleLbl="node2" presStyleIdx="4" presStyleCnt="9">
        <dgm:presLayoutVars>
          <dgm:chPref val="3"/>
        </dgm:presLayoutVars>
      </dgm:prSet>
      <dgm:spPr/>
    </dgm:pt>
    <dgm:pt modelId="{3302CFCE-7FF5-5844-9AC6-B5119110B97B}" type="pres">
      <dgm:prSet presAssocID="{92703CDA-4C94-3E4F-8B2E-F46E14AA2FF2}" presName="rootConnector" presStyleLbl="node2" presStyleIdx="4" presStyleCnt="9"/>
      <dgm:spPr/>
    </dgm:pt>
    <dgm:pt modelId="{29C93E5A-9E1E-5344-BC28-49BCD0B33994}" type="pres">
      <dgm:prSet presAssocID="{92703CDA-4C94-3E4F-8B2E-F46E14AA2FF2}" presName="hierChild4" presStyleCnt="0"/>
      <dgm:spPr/>
    </dgm:pt>
    <dgm:pt modelId="{F857A609-1AA2-9A42-8680-C5B24BB720B2}" type="pres">
      <dgm:prSet presAssocID="{92703CDA-4C94-3E4F-8B2E-F46E14AA2FF2}" presName="hierChild5" presStyleCnt="0"/>
      <dgm:spPr/>
    </dgm:pt>
    <dgm:pt modelId="{A887A7AC-EDAC-2F46-93F7-155DA1233AD6}" type="pres">
      <dgm:prSet presAssocID="{E8BDF334-A533-D642-B8F1-19F376A08EF0}" presName="Name64" presStyleLbl="parChTrans1D2" presStyleIdx="5" presStyleCnt="9"/>
      <dgm:spPr/>
    </dgm:pt>
    <dgm:pt modelId="{94A7E8BA-FCE3-984A-8787-7CF1989BB45E}" type="pres">
      <dgm:prSet presAssocID="{3E83E951-8A57-1D42-8014-05C2744BFADF}" presName="hierRoot2" presStyleCnt="0">
        <dgm:presLayoutVars>
          <dgm:hierBranch val="init"/>
        </dgm:presLayoutVars>
      </dgm:prSet>
      <dgm:spPr/>
    </dgm:pt>
    <dgm:pt modelId="{39BC0B8C-E0C6-994E-A60E-4F03027DDC35}" type="pres">
      <dgm:prSet presAssocID="{3E83E951-8A57-1D42-8014-05C2744BFADF}" presName="rootComposite" presStyleCnt="0"/>
      <dgm:spPr/>
    </dgm:pt>
    <dgm:pt modelId="{B588A0C4-2648-064E-919C-A29258937C9D}" type="pres">
      <dgm:prSet presAssocID="{3E83E951-8A57-1D42-8014-05C2744BFADF}" presName="rootText" presStyleLbl="node2" presStyleIdx="5" presStyleCnt="9">
        <dgm:presLayoutVars>
          <dgm:chPref val="3"/>
        </dgm:presLayoutVars>
      </dgm:prSet>
      <dgm:spPr/>
    </dgm:pt>
    <dgm:pt modelId="{01609304-2552-ED45-9596-EF54BE26DD7E}" type="pres">
      <dgm:prSet presAssocID="{3E83E951-8A57-1D42-8014-05C2744BFADF}" presName="rootConnector" presStyleLbl="node2" presStyleIdx="5" presStyleCnt="9"/>
      <dgm:spPr/>
    </dgm:pt>
    <dgm:pt modelId="{8CA5E661-878D-3140-9EBD-069BF972977A}" type="pres">
      <dgm:prSet presAssocID="{3E83E951-8A57-1D42-8014-05C2744BFADF}" presName="hierChild4" presStyleCnt="0"/>
      <dgm:spPr/>
    </dgm:pt>
    <dgm:pt modelId="{D81923B1-B2C5-5647-B814-010A143D8B9B}" type="pres">
      <dgm:prSet presAssocID="{3E83E951-8A57-1D42-8014-05C2744BFADF}" presName="hierChild5" presStyleCnt="0"/>
      <dgm:spPr/>
    </dgm:pt>
    <dgm:pt modelId="{D318C644-F6F3-4C4E-B8D5-EB3E2BC6AED7}" type="pres">
      <dgm:prSet presAssocID="{7FC37BFE-5DE9-9C4E-AFD1-063DAFD22087}" presName="Name64" presStyleLbl="parChTrans1D2" presStyleIdx="6" presStyleCnt="9"/>
      <dgm:spPr/>
    </dgm:pt>
    <dgm:pt modelId="{9B691CDD-0DC4-4149-A7AF-B9F41961FED2}" type="pres">
      <dgm:prSet presAssocID="{9FAA9E2D-612D-5A40-9D1A-46E213180B21}" presName="hierRoot2" presStyleCnt="0">
        <dgm:presLayoutVars>
          <dgm:hierBranch val="init"/>
        </dgm:presLayoutVars>
      </dgm:prSet>
      <dgm:spPr/>
    </dgm:pt>
    <dgm:pt modelId="{4A7A8E3C-8759-2344-8F8A-18637CCBD1EB}" type="pres">
      <dgm:prSet presAssocID="{9FAA9E2D-612D-5A40-9D1A-46E213180B21}" presName="rootComposite" presStyleCnt="0"/>
      <dgm:spPr/>
    </dgm:pt>
    <dgm:pt modelId="{79CA8CBE-EF24-5548-9ED9-11684E28E9E9}" type="pres">
      <dgm:prSet presAssocID="{9FAA9E2D-612D-5A40-9D1A-46E213180B21}" presName="rootText" presStyleLbl="node2" presStyleIdx="6" presStyleCnt="9">
        <dgm:presLayoutVars>
          <dgm:chPref val="3"/>
        </dgm:presLayoutVars>
      </dgm:prSet>
      <dgm:spPr/>
    </dgm:pt>
    <dgm:pt modelId="{2541EF95-CD7D-A84E-B74C-0EE687A59494}" type="pres">
      <dgm:prSet presAssocID="{9FAA9E2D-612D-5A40-9D1A-46E213180B21}" presName="rootConnector" presStyleLbl="node2" presStyleIdx="6" presStyleCnt="9"/>
      <dgm:spPr/>
    </dgm:pt>
    <dgm:pt modelId="{18946F9F-AFDF-5D4E-A983-159E614A33A1}" type="pres">
      <dgm:prSet presAssocID="{9FAA9E2D-612D-5A40-9D1A-46E213180B21}" presName="hierChild4" presStyleCnt="0"/>
      <dgm:spPr/>
    </dgm:pt>
    <dgm:pt modelId="{F6BD34C8-4476-0849-8E73-FD62361461B9}" type="pres">
      <dgm:prSet presAssocID="{ACCE4294-DD74-DC47-BF5F-559B814E72F3}" presName="Name64" presStyleLbl="parChTrans1D3" presStyleIdx="0" presStyleCnt="2"/>
      <dgm:spPr/>
    </dgm:pt>
    <dgm:pt modelId="{925E7833-FB24-3A44-A4DD-0D72A3FA5B59}" type="pres">
      <dgm:prSet presAssocID="{489C5FA4-BB16-7F4D-B110-7977E47335B5}" presName="hierRoot2" presStyleCnt="0">
        <dgm:presLayoutVars>
          <dgm:hierBranch val="init"/>
        </dgm:presLayoutVars>
      </dgm:prSet>
      <dgm:spPr/>
    </dgm:pt>
    <dgm:pt modelId="{3E4AF3C3-833D-7947-86F1-689679F6A481}" type="pres">
      <dgm:prSet presAssocID="{489C5FA4-BB16-7F4D-B110-7977E47335B5}" presName="rootComposite" presStyleCnt="0"/>
      <dgm:spPr/>
    </dgm:pt>
    <dgm:pt modelId="{F0490598-B026-E649-861F-438716F1D831}" type="pres">
      <dgm:prSet presAssocID="{489C5FA4-BB16-7F4D-B110-7977E47335B5}" presName="rootText" presStyleLbl="node3" presStyleIdx="0" presStyleCnt="2">
        <dgm:presLayoutVars>
          <dgm:chPref val="3"/>
        </dgm:presLayoutVars>
      </dgm:prSet>
      <dgm:spPr/>
    </dgm:pt>
    <dgm:pt modelId="{1A50727A-1A53-084D-A788-A981E4ADFDA6}" type="pres">
      <dgm:prSet presAssocID="{489C5FA4-BB16-7F4D-B110-7977E47335B5}" presName="rootConnector" presStyleLbl="node3" presStyleIdx="0" presStyleCnt="2"/>
      <dgm:spPr/>
    </dgm:pt>
    <dgm:pt modelId="{994AF5E2-7750-3146-A457-B08E5314B434}" type="pres">
      <dgm:prSet presAssocID="{489C5FA4-BB16-7F4D-B110-7977E47335B5}" presName="hierChild4" presStyleCnt="0"/>
      <dgm:spPr/>
    </dgm:pt>
    <dgm:pt modelId="{EABC90C7-D7AE-A243-ADD7-A6BC906BAF03}" type="pres">
      <dgm:prSet presAssocID="{489C5FA4-BB16-7F4D-B110-7977E47335B5}" presName="hierChild5" presStyleCnt="0"/>
      <dgm:spPr/>
    </dgm:pt>
    <dgm:pt modelId="{E70A53D6-C946-F24F-837C-9831902AEC17}" type="pres">
      <dgm:prSet presAssocID="{4935866C-01D0-514D-B46F-459E4B1ACE7C}" presName="Name64" presStyleLbl="parChTrans1D3" presStyleIdx="1" presStyleCnt="2"/>
      <dgm:spPr/>
    </dgm:pt>
    <dgm:pt modelId="{20BE7BE1-990B-A245-8BDC-DA82752858D6}" type="pres">
      <dgm:prSet presAssocID="{D4F348A8-0BED-A347-A143-9BDFAD73A1FF}" presName="hierRoot2" presStyleCnt="0">
        <dgm:presLayoutVars>
          <dgm:hierBranch val="init"/>
        </dgm:presLayoutVars>
      </dgm:prSet>
      <dgm:spPr/>
    </dgm:pt>
    <dgm:pt modelId="{2C7652FB-A46A-644A-8B76-09B8DEC84CBE}" type="pres">
      <dgm:prSet presAssocID="{D4F348A8-0BED-A347-A143-9BDFAD73A1FF}" presName="rootComposite" presStyleCnt="0"/>
      <dgm:spPr/>
    </dgm:pt>
    <dgm:pt modelId="{B13F2836-7C6D-BE43-9201-7E32A5B1A68B}" type="pres">
      <dgm:prSet presAssocID="{D4F348A8-0BED-A347-A143-9BDFAD73A1FF}" presName="rootText" presStyleLbl="node3" presStyleIdx="1" presStyleCnt="2">
        <dgm:presLayoutVars>
          <dgm:chPref val="3"/>
        </dgm:presLayoutVars>
      </dgm:prSet>
      <dgm:spPr/>
    </dgm:pt>
    <dgm:pt modelId="{759B3E6D-9356-DB4C-B128-1EE633A144C3}" type="pres">
      <dgm:prSet presAssocID="{D4F348A8-0BED-A347-A143-9BDFAD73A1FF}" presName="rootConnector" presStyleLbl="node3" presStyleIdx="1" presStyleCnt="2"/>
      <dgm:spPr/>
    </dgm:pt>
    <dgm:pt modelId="{43047578-E0EF-B74B-8967-7F088BDF4149}" type="pres">
      <dgm:prSet presAssocID="{D4F348A8-0BED-A347-A143-9BDFAD73A1FF}" presName="hierChild4" presStyleCnt="0"/>
      <dgm:spPr/>
    </dgm:pt>
    <dgm:pt modelId="{2A2896E8-155D-7A46-B449-9F240A2006C9}" type="pres">
      <dgm:prSet presAssocID="{D4F348A8-0BED-A347-A143-9BDFAD73A1FF}" presName="hierChild5" presStyleCnt="0"/>
      <dgm:spPr/>
    </dgm:pt>
    <dgm:pt modelId="{7A86203B-C882-EE49-9118-6CA8003ECB36}" type="pres">
      <dgm:prSet presAssocID="{9FAA9E2D-612D-5A40-9D1A-46E213180B21}" presName="hierChild5" presStyleCnt="0"/>
      <dgm:spPr/>
    </dgm:pt>
    <dgm:pt modelId="{46416D42-0884-D447-B39A-6897E67A389B}" type="pres">
      <dgm:prSet presAssocID="{5DB6169A-EEA7-8A48-B219-4B8CC17AFE19}" presName="Name64" presStyleLbl="parChTrans1D2" presStyleIdx="7" presStyleCnt="9"/>
      <dgm:spPr/>
    </dgm:pt>
    <dgm:pt modelId="{36E9365D-187B-B444-8ADE-2AD1C4C6D7A4}" type="pres">
      <dgm:prSet presAssocID="{29D6A3C1-F671-3943-9A95-B3CBF4CE5707}" presName="hierRoot2" presStyleCnt="0">
        <dgm:presLayoutVars>
          <dgm:hierBranch val="init"/>
        </dgm:presLayoutVars>
      </dgm:prSet>
      <dgm:spPr/>
    </dgm:pt>
    <dgm:pt modelId="{FAF95924-8021-B14B-9342-2FB5364B96D9}" type="pres">
      <dgm:prSet presAssocID="{29D6A3C1-F671-3943-9A95-B3CBF4CE5707}" presName="rootComposite" presStyleCnt="0"/>
      <dgm:spPr/>
    </dgm:pt>
    <dgm:pt modelId="{79ED6464-2B13-C24F-836C-30FBBA91E97E}" type="pres">
      <dgm:prSet presAssocID="{29D6A3C1-F671-3943-9A95-B3CBF4CE5707}" presName="rootText" presStyleLbl="node2" presStyleIdx="7" presStyleCnt="9">
        <dgm:presLayoutVars>
          <dgm:chPref val="3"/>
        </dgm:presLayoutVars>
      </dgm:prSet>
      <dgm:spPr/>
    </dgm:pt>
    <dgm:pt modelId="{DBB657D1-BAE0-1A48-A375-8A7BE01C9A81}" type="pres">
      <dgm:prSet presAssocID="{29D6A3C1-F671-3943-9A95-B3CBF4CE5707}" presName="rootConnector" presStyleLbl="node2" presStyleIdx="7" presStyleCnt="9"/>
      <dgm:spPr/>
    </dgm:pt>
    <dgm:pt modelId="{9A5DB202-F7FC-6F4B-AD75-E30B225FFA21}" type="pres">
      <dgm:prSet presAssocID="{29D6A3C1-F671-3943-9A95-B3CBF4CE5707}" presName="hierChild4" presStyleCnt="0"/>
      <dgm:spPr/>
    </dgm:pt>
    <dgm:pt modelId="{3CC62885-BC88-9442-971A-28B93EDAB1FB}" type="pres">
      <dgm:prSet presAssocID="{29D6A3C1-F671-3943-9A95-B3CBF4CE5707}" presName="hierChild5" presStyleCnt="0"/>
      <dgm:spPr/>
    </dgm:pt>
    <dgm:pt modelId="{18645229-794C-004D-A1C3-80B20FE346D6}" type="pres">
      <dgm:prSet presAssocID="{852BC08E-A301-9844-B60F-3025E9932631}" presName="Name64" presStyleLbl="parChTrans1D2" presStyleIdx="8" presStyleCnt="9"/>
      <dgm:spPr/>
    </dgm:pt>
    <dgm:pt modelId="{72B6B93B-CAF4-7F40-8D36-3B630C935673}" type="pres">
      <dgm:prSet presAssocID="{3CCEBE12-34B3-8D44-BF9F-71F65C0DC031}" presName="hierRoot2" presStyleCnt="0">
        <dgm:presLayoutVars>
          <dgm:hierBranch val="init"/>
        </dgm:presLayoutVars>
      </dgm:prSet>
      <dgm:spPr/>
    </dgm:pt>
    <dgm:pt modelId="{6297D8A5-9D8F-EF4A-9460-3EBA6A5CB15A}" type="pres">
      <dgm:prSet presAssocID="{3CCEBE12-34B3-8D44-BF9F-71F65C0DC031}" presName="rootComposite" presStyleCnt="0"/>
      <dgm:spPr/>
    </dgm:pt>
    <dgm:pt modelId="{70977390-730E-F949-940A-2D0B59380857}" type="pres">
      <dgm:prSet presAssocID="{3CCEBE12-34B3-8D44-BF9F-71F65C0DC031}" presName="rootText" presStyleLbl="node2" presStyleIdx="8" presStyleCnt="9">
        <dgm:presLayoutVars>
          <dgm:chPref val="3"/>
        </dgm:presLayoutVars>
      </dgm:prSet>
      <dgm:spPr/>
    </dgm:pt>
    <dgm:pt modelId="{4DB3980C-0255-4849-9D19-CBED43BF9F43}" type="pres">
      <dgm:prSet presAssocID="{3CCEBE12-34B3-8D44-BF9F-71F65C0DC031}" presName="rootConnector" presStyleLbl="node2" presStyleIdx="8" presStyleCnt="9"/>
      <dgm:spPr/>
    </dgm:pt>
    <dgm:pt modelId="{FA6E732F-D039-C84B-B901-BD044096C9C2}" type="pres">
      <dgm:prSet presAssocID="{3CCEBE12-34B3-8D44-BF9F-71F65C0DC031}" presName="hierChild4" presStyleCnt="0"/>
      <dgm:spPr/>
    </dgm:pt>
    <dgm:pt modelId="{A72B18A0-1ABA-DE45-BFD6-16A699BBEE0A}" type="pres">
      <dgm:prSet presAssocID="{3CCEBE12-34B3-8D44-BF9F-71F65C0DC031}" presName="hierChild5" presStyleCnt="0"/>
      <dgm:spPr/>
    </dgm:pt>
    <dgm:pt modelId="{A19E0454-B00A-1C49-80CC-A8174950C984}" type="pres">
      <dgm:prSet presAssocID="{153546E0-3490-054F-849C-4D8E7F40F9AC}" presName="hierChild3" presStyleCnt="0"/>
      <dgm:spPr/>
    </dgm:pt>
  </dgm:ptLst>
  <dgm:cxnLst>
    <dgm:cxn modelId="{D41E1502-D77F-6040-B926-8B5F698387BC}" type="presOf" srcId="{D3F3420D-5D24-664E-8E66-5517D176FB1D}" destId="{02EA0B59-0086-E84B-8E64-ED4BC9D03C03}" srcOrd="1" destOrd="0" presId="urn:microsoft.com/office/officeart/2009/3/layout/HorizontalOrganizationChart"/>
    <dgm:cxn modelId="{1FF39E0E-B862-7B42-AD7E-22006F8ABBF9}" type="presOf" srcId="{7FC37BFE-5DE9-9C4E-AFD1-063DAFD22087}" destId="{D318C644-F6F3-4C4E-B8D5-EB3E2BC6AED7}" srcOrd="0" destOrd="0" presId="urn:microsoft.com/office/officeart/2009/3/layout/HorizontalOrganizationChart"/>
    <dgm:cxn modelId="{2251F212-507C-4B4D-B3B8-DE79877EC58A}" type="presOf" srcId="{827048D1-0C64-9E4A-977C-9A28CF006D20}" destId="{2EB48850-F88E-4446-A5F1-E491055A7AED}" srcOrd="0" destOrd="0" presId="urn:microsoft.com/office/officeart/2009/3/layout/HorizontalOrganizationChart"/>
    <dgm:cxn modelId="{8D0A6114-E5C6-1642-907C-9D2E0411982F}" srcId="{153546E0-3490-054F-849C-4D8E7F40F9AC}" destId="{3CCEBE12-34B3-8D44-BF9F-71F65C0DC031}" srcOrd="8" destOrd="0" parTransId="{852BC08E-A301-9844-B60F-3025E9932631}" sibTransId="{2BE93E6D-7397-6746-B225-9702B72D7594}"/>
    <dgm:cxn modelId="{14136D20-10BE-6F42-8E3C-152B24CCE218}" srcId="{9FAA9E2D-612D-5A40-9D1A-46E213180B21}" destId="{D4F348A8-0BED-A347-A143-9BDFAD73A1FF}" srcOrd="1" destOrd="0" parTransId="{4935866C-01D0-514D-B46F-459E4B1ACE7C}" sibTransId="{A50DD61E-F023-7E42-B04B-DB3F0603EA17}"/>
    <dgm:cxn modelId="{760AA024-3DB7-C143-8D72-FD7B87140DA1}" srcId="{153546E0-3490-054F-849C-4D8E7F40F9AC}" destId="{92703CDA-4C94-3E4F-8B2E-F46E14AA2FF2}" srcOrd="4" destOrd="0" parTransId="{3845B904-0561-0049-BF78-F2B06C3E47EB}" sibTransId="{D3DEC5FD-D4CB-FA46-840F-03D6974508A5}"/>
    <dgm:cxn modelId="{A8EC2F27-6BC7-A34A-B0D5-AE60457C74C5}" type="presOf" srcId="{3AFC22A0-EA30-2744-83DC-22EDEE9739FE}" destId="{3EADF818-BD1D-B049-9499-E837ABC3F620}" srcOrd="0" destOrd="0" presId="urn:microsoft.com/office/officeart/2009/3/layout/HorizontalOrganizationChart"/>
    <dgm:cxn modelId="{6CEC512A-FD67-8048-80D2-2DDDCE19DAE4}" srcId="{9FAA9E2D-612D-5A40-9D1A-46E213180B21}" destId="{489C5FA4-BB16-7F4D-B110-7977E47335B5}" srcOrd="0" destOrd="0" parTransId="{ACCE4294-DD74-DC47-BF5F-559B814E72F3}" sibTransId="{B89ABE40-F217-CB4D-A458-D2B9E0D7D852}"/>
    <dgm:cxn modelId="{D69C092D-821B-2543-919F-431E37F9724D}" srcId="{3AFC22A0-EA30-2744-83DC-22EDEE9739FE}" destId="{153546E0-3490-054F-849C-4D8E7F40F9AC}" srcOrd="0" destOrd="0" parTransId="{852264B5-88B5-E646-84CD-F4A5338E4B98}" sibTransId="{23536B86-35C5-1345-B51E-5840F1DB093C}"/>
    <dgm:cxn modelId="{2603E82F-0DFE-7343-B19D-4BC3EEBAF4B3}" type="presOf" srcId="{D3F3420D-5D24-664E-8E66-5517D176FB1D}" destId="{52359433-2B0C-624E-8316-58A884DF6397}" srcOrd="0" destOrd="0" presId="urn:microsoft.com/office/officeart/2009/3/layout/HorizontalOrganizationChart"/>
    <dgm:cxn modelId="{E75D0A30-4063-6344-8713-0971E4BC5A9B}" type="presOf" srcId="{526E8368-2F9F-074A-8A1E-FF4998D0F1C4}" destId="{693F533D-A577-C443-9BDD-EC20C54CF7CF}" srcOrd="0" destOrd="0" presId="urn:microsoft.com/office/officeart/2009/3/layout/HorizontalOrganizationChart"/>
    <dgm:cxn modelId="{3B5B9534-31D7-984E-B4F5-607A99BB984F}" type="presOf" srcId="{D4F348A8-0BED-A347-A143-9BDFAD73A1FF}" destId="{B13F2836-7C6D-BE43-9201-7E32A5B1A68B}" srcOrd="0" destOrd="0" presId="urn:microsoft.com/office/officeart/2009/3/layout/HorizontalOrganizationChart"/>
    <dgm:cxn modelId="{F1D32F36-C3F9-5642-9DA9-A87C3A1CE845}" type="presOf" srcId="{29D6A3C1-F671-3943-9A95-B3CBF4CE5707}" destId="{79ED6464-2B13-C24F-836C-30FBBA91E97E}" srcOrd="0" destOrd="0" presId="urn:microsoft.com/office/officeart/2009/3/layout/HorizontalOrganizationChart"/>
    <dgm:cxn modelId="{DFB5303F-C361-4A4C-BC8F-CBF16F4BDCCB}" type="presOf" srcId="{852BC08E-A301-9844-B60F-3025E9932631}" destId="{18645229-794C-004D-A1C3-80B20FE346D6}" srcOrd="0" destOrd="0" presId="urn:microsoft.com/office/officeart/2009/3/layout/HorizontalOrganizationChart"/>
    <dgm:cxn modelId="{89862144-CEDC-1344-A586-B4FC9B7FEB19}" type="presOf" srcId="{526E8368-2F9F-074A-8A1E-FF4998D0F1C4}" destId="{C900733E-715B-0D4B-9035-370EED05E2A6}" srcOrd="1" destOrd="0" presId="urn:microsoft.com/office/officeart/2009/3/layout/HorizontalOrganizationChart"/>
    <dgm:cxn modelId="{3B6F4A47-1C12-CF4D-A6A8-FC6B3EF23E7E}" type="presOf" srcId="{3CCEBE12-34B3-8D44-BF9F-71F65C0DC031}" destId="{4DB3980C-0255-4849-9D19-CBED43BF9F43}" srcOrd="1" destOrd="0" presId="urn:microsoft.com/office/officeart/2009/3/layout/HorizontalOrganizationChart"/>
    <dgm:cxn modelId="{741A7049-64E2-7A4A-BDBC-D4031A009C95}" type="presOf" srcId="{7A0049F3-FA04-6C4B-B33F-043E7A980B20}" destId="{4750112A-3894-5D41-A379-CEBF565E64F6}" srcOrd="1" destOrd="0" presId="urn:microsoft.com/office/officeart/2009/3/layout/HorizontalOrganizationChart"/>
    <dgm:cxn modelId="{E8DBC64A-A8C4-7040-A405-2F1069DD3B8B}" type="presOf" srcId="{3E83E951-8A57-1D42-8014-05C2744BFADF}" destId="{B588A0C4-2648-064E-919C-A29258937C9D}" srcOrd="0" destOrd="0" presId="urn:microsoft.com/office/officeart/2009/3/layout/HorizontalOrganizationChart"/>
    <dgm:cxn modelId="{E0518857-B43A-FF43-A9CA-C0DEB3787E31}" type="presOf" srcId="{3845B904-0561-0049-BF78-F2B06C3E47EB}" destId="{1B76CE1D-1986-3C42-8928-376342AF5685}" srcOrd="0" destOrd="0" presId="urn:microsoft.com/office/officeart/2009/3/layout/HorizontalOrganizationChart"/>
    <dgm:cxn modelId="{6E48A758-F987-6A40-8347-7CEDE5F02DD8}" type="presOf" srcId="{3CCEBE12-34B3-8D44-BF9F-71F65C0DC031}" destId="{70977390-730E-F949-940A-2D0B59380857}" srcOrd="0" destOrd="0" presId="urn:microsoft.com/office/officeart/2009/3/layout/HorizontalOrganizationChart"/>
    <dgm:cxn modelId="{63594D5D-8124-A34C-A3B5-56FF5886BF2B}" type="presOf" srcId="{EE9CBBF9-B25D-144C-B565-3B6AF4D70FB2}" destId="{91A6EDE1-DEC0-964A-9560-6EF604D22C5C}" srcOrd="0" destOrd="0" presId="urn:microsoft.com/office/officeart/2009/3/layout/HorizontalOrganizationChart"/>
    <dgm:cxn modelId="{26C0A46A-0653-FF4A-B4A4-8071F6132356}" type="presOf" srcId="{153546E0-3490-054F-849C-4D8E7F40F9AC}" destId="{88ABABA2-3722-EC40-B021-7572C797B7EE}" srcOrd="1" destOrd="0" presId="urn:microsoft.com/office/officeart/2009/3/layout/HorizontalOrganizationChart"/>
    <dgm:cxn modelId="{AD35476E-2AEE-CE42-A27D-6C6D95C867C4}" srcId="{153546E0-3490-054F-849C-4D8E7F40F9AC}" destId="{29D6A3C1-F671-3943-9A95-B3CBF4CE5707}" srcOrd="7" destOrd="0" parTransId="{5DB6169A-EEA7-8A48-B219-4B8CC17AFE19}" sibTransId="{9101B7F7-6049-0A46-8839-24606113BCB2}"/>
    <dgm:cxn modelId="{4A4CC191-EABE-2143-A8FF-0E0A75302B71}" type="presOf" srcId="{489C5FA4-BB16-7F4D-B110-7977E47335B5}" destId="{1A50727A-1A53-084D-A788-A981E4ADFDA6}" srcOrd="1" destOrd="0" presId="urn:microsoft.com/office/officeart/2009/3/layout/HorizontalOrganizationChart"/>
    <dgm:cxn modelId="{DEF0D594-1DA3-0946-BF31-1942CC9C524A}" type="presOf" srcId="{ACCE4294-DD74-DC47-BF5F-559B814E72F3}" destId="{F6BD34C8-4476-0849-8E73-FD62361461B9}" srcOrd="0" destOrd="0" presId="urn:microsoft.com/office/officeart/2009/3/layout/HorizontalOrganizationChart"/>
    <dgm:cxn modelId="{18079398-FA51-664F-ADC7-2F2EAE79295F}" type="presOf" srcId="{E8BDF334-A533-D642-B8F1-19F376A08EF0}" destId="{A887A7AC-EDAC-2F46-93F7-155DA1233AD6}" srcOrd="0" destOrd="0" presId="urn:microsoft.com/office/officeart/2009/3/layout/HorizontalOrganizationChart"/>
    <dgm:cxn modelId="{C4F332A0-6CEF-E14B-8390-0055B5111F86}" srcId="{153546E0-3490-054F-849C-4D8E7F40F9AC}" destId="{3E83E951-8A57-1D42-8014-05C2744BFADF}" srcOrd="5" destOrd="0" parTransId="{E8BDF334-A533-D642-B8F1-19F376A08EF0}" sibTransId="{94C35535-57D7-204D-807F-6CAB93A5C3C4}"/>
    <dgm:cxn modelId="{0BCC0FA3-2C2C-0246-9361-69F2DD770A7C}" srcId="{153546E0-3490-054F-849C-4D8E7F40F9AC}" destId="{ABEBEA11-C82A-3342-8246-4713E46D067A}" srcOrd="1" destOrd="0" parTransId="{9CC0B900-4B49-0A43-B54E-11AE06833C45}" sibTransId="{54DB5A57-8AB8-1F44-A6B1-343B45697ED8}"/>
    <dgm:cxn modelId="{04CD30A7-741F-AB42-A494-65DDCCD201BC}" srcId="{153546E0-3490-054F-849C-4D8E7F40F9AC}" destId="{526E8368-2F9F-074A-8A1E-FF4998D0F1C4}" srcOrd="0" destOrd="0" parTransId="{827048D1-0C64-9E4A-977C-9A28CF006D20}" sibTransId="{7629C966-B963-5743-8C14-E2302A6419D5}"/>
    <dgm:cxn modelId="{7974DEAE-907D-6546-B279-A42BDEC17805}" type="presOf" srcId="{D4F348A8-0BED-A347-A143-9BDFAD73A1FF}" destId="{759B3E6D-9356-DB4C-B128-1EE633A144C3}" srcOrd="1" destOrd="0" presId="urn:microsoft.com/office/officeart/2009/3/layout/HorizontalOrganizationChart"/>
    <dgm:cxn modelId="{EA0634B2-B301-3747-BE30-74EDC9DC2371}" type="presOf" srcId="{9CC0B900-4B49-0A43-B54E-11AE06833C45}" destId="{5025B89C-BFAC-1749-BA34-E9E89FC4E403}" srcOrd="0" destOrd="0" presId="urn:microsoft.com/office/officeart/2009/3/layout/HorizontalOrganizationChart"/>
    <dgm:cxn modelId="{485B52B9-1AB5-ED45-8F83-1F5A4ED60324}" type="presOf" srcId="{ABEBEA11-C82A-3342-8246-4713E46D067A}" destId="{4D714A61-ECC9-B449-937C-47DE61936903}" srcOrd="1" destOrd="0" presId="urn:microsoft.com/office/officeart/2009/3/layout/HorizontalOrganizationChart"/>
    <dgm:cxn modelId="{788A8DBB-CBB8-8B4D-B26E-400D944FCCF5}" type="presOf" srcId="{92703CDA-4C94-3E4F-8B2E-F46E14AA2FF2}" destId="{3302CFCE-7FF5-5844-9AC6-B5119110B97B}" srcOrd="1" destOrd="0" presId="urn:microsoft.com/office/officeart/2009/3/layout/HorizontalOrganizationChart"/>
    <dgm:cxn modelId="{DA4091BD-BF61-C842-AB39-0579FC7AF6AB}" type="presOf" srcId="{153546E0-3490-054F-849C-4D8E7F40F9AC}" destId="{DAF435B8-AC54-A04A-8555-5BB0F3161BCB}" srcOrd="0" destOrd="0" presId="urn:microsoft.com/office/officeart/2009/3/layout/HorizontalOrganizationChart"/>
    <dgm:cxn modelId="{E30BC1BE-35FB-DC4A-AF62-3C12A605732F}" type="presOf" srcId="{ABEBEA11-C82A-3342-8246-4713E46D067A}" destId="{04F0C9FB-1872-FD45-919D-CD509CC7ACD2}" srcOrd="0" destOrd="0" presId="urn:microsoft.com/office/officeart/2009/3/layout/HorizontalOrganizationChart"/>
    <dgm:cxn modelId="{262348C1-4BD4-EE44-99C4-4F7230574790}" type="presOf" srcId="{7A0049F3-FA04-6C4B-B33F-043E7A980B20}" destId="{6D78F15A-B86A-5D47-9B8E-74E5AABA5DEE}" srcOrd="0" destOrd="0" presId="urn:microsoft.com/office/officeart/2009/3/layout/HorizontalOrganizationChart"/>
    <dgm:cxn modelId="{D7895DC5-DA69-6244-83C0-2ED33256F387}" type="presOf" srcId="{5DB6169A-EEA7-8A48-B219-4B8CC17AFE19}" destId="{46416D42-0884-D447-B39A-6897E67A389B}" srcOrd="0" destOrd="0" presId="urn:microsoft.com/office/officeart/2009/3/layout/HorizontalOrganizationChart"/>
    <dgm:cxn modelId="{113514CC-A327-0E4E-8378-13A855B04C99}" type="presOf" srcId="{3E83E951-8A57-1D42-8014-05C2744BFADF}" destId="{01609304-2552-ED45-9596-EF54BE26DD7E}" srcOrd="1" destOrd="0" presId="urn:microsoft.com/office/officeart/2009/3/layout/HorizontalOrganizationChart"/>
    <dgm:cxn modelId="{61A458CE-3FFC-AA40-AEA8-734A331042CE}" type="presOf" srcId="{9FAA9E2D-612D-5A40-9D1A-46E213180B21}" destId="{2541EF95-CD7D-A84E-B74C-0EE687A59494}" srcOrd="1" destOrd="0" presId="urn:microsoft.com/office/officeart/2009/3/layout/HorizontalOrganizationChart"/>
    <dgm:cxn modelId="{DB1952D1-138E-CE4D-BC2F-DBCEBAF37239}" srcId="{153546E0-3490-054F-849C-4D8E7F40F9AC}" destId="{7A0049F3-FA04-6C4B-B33F-043E7A980B20}" srcOrd="2" destOrd="0" parTransId="{EE9CBBF9-B25D-144C-B565-3B6AF4D70FB2}" sibTransId="{E541CE3D-B0BE-F94C-B75B-CF3BEC7FB946}"/>
    <dgm:cxn modelId="{803FF2D9-C3AB-0F4A-9115-E4C56C4CAC0E}" type="presOf" srcId="{FF949A33-2418-CA45-B875-8755F5339D01}" destId="{699F8DD7-7177-2E45-833E-F4DBA93E05F1}" srcOrd="0" destOrd="0" presId="urn:microsoft.com/office/officeart/2009/3/layout/HorizontalOrganizationChart"/>
    <dgm:cxn modelId="{790132DF-2ECA-B349-B8FD-7BD4DE788A02}" type="presOf" srcId="{29D6A3C1-F671-3943-9A95-B3CBF4CE5707}" destId="{DBB657D1-BAE0-1A48-A375-8A7BE01C9A81}" srcOrd="1" destOrd="0" presId="urn:microsoft.com/office/officeart/2009/3/layout/HorizontalOrganizationChart"/>
    <dgm:cxn modelId="{E88717E0-CAB6-D34B-B902-084D3A84AD10}" type="presOf" srcId="{9FAA9E2D-612D-5A40-9D1A-46E213180B21}" destId="{79CA8CBE-EF24-5548-9ED9-11684E28E9E9}" srcOrd="0" destOrd="0" presId="urn:microsoft.com/office/officeart/2009/3/layout/HorizontalOrganizationChart"/>
    <dgm:cxn modelId="{4B40FBE6-E7A5-7F44-A1D5-2E0332F4CC96}" srcId="{153546E0-3490-054F-849C-4D8E7F40F9AC}" destId="{9FAA9E2D-612D-5A40-9D1A-46E213180B21}" srcOrd="6" destOrd="0" parTransId="{7FC37BFE-5DE9-9C4E-AFD1-063DAFD22087}" sibTransId="{8A2B82F5-4386-594E-A758-3DB06AF6FBDA}"/>
    <dgm:cxn modelId="{52EEE8E9-971C-0646-8FD2-EA31112478A7}" type="presOf" srcId="{489C5FA4-BB16-7F4D-B110-7977E47335B5}" destId="{F0490598-B026-E649-861F-438716F1D831}" srcOrd="0" destOrd="0" presId="urn:microsoft.com/office/officeart/2009/3/layout/HorizontalOrganizationChart"/>
    <dgm:cxn modelId="{3E2186F0-A934-1645-BBB3-052067C35433}" srcId="{153546E0-3490-054F-849C-4D8E7F40F9AC}" destId="{D3F3420D-5D24-664E-8E66-5517D176FB1D}" srcOrd="3" destOrd="0" parTransId="{FF949A33-2418-CA45-B875-8755F5339D01}" sibTransId="{CC7C3AE3-A0F4-AF4F-8C09-562962917790}"/>
    <dgm:cxn modelId="{241EE4F3-4C2B-7D43-B8BB-049685D7EE4F}" type="presOf" srcId="{92703CDA-4C94-3E4F-8B2E-F46E14AA2FF2}" destId="{F0A59A47-9F2A-4346-96DA-3115F6E50019}" srcOrd="0" destOrd="0" presId="urn:microsoft.com/office/officeart/2009/3/layout/HorizontalOrganizationChart"/>
    <dgm:cxn modelId="{0B739EFB-A6D4-6F4F-9CC0-15F996CF005A}" type="presOf" srcId="{4935866C-01D0-514D-B46F-459E4B1ACE7C}" destId="{E70A53D6-C946-F24F-837C-9831902AEC17}" srcOrd="0" destOrd="0" presId="urn:microsoft.com/office/officeart/2009/3/layout/HorizontalOrganizationChart"/>
    <dgm:cxn modelId="{4D4A06AA-9DA4-2B47-9C48-85C115D3A4C2}" type="presParOf" srcId="{3EADF818-BD1D-B049-9499-E837ABC3F620}" destId="{D6477084-FA43-4A40-8DD1-3D425BC18EA4}" srcOrd="0" destOrd="0" presId="urn:microsoft.com/office/officeart/2009/3/layout/HorizontalOrganizationChart"/>
    <dgm:cxn modelId="{51C0CF81-5B90-0348-B2D2-B21870FD50E2}" type="presParOf" srcId="{D6477084-FA43-4A40-8DD1-3D425BC18EA4}" destId="{81FD91E7-153F-E340-AFDA-227DAC33D025}" srcOrd="0" destOrd="0" presId="urn:microsoft.com/office/officeart/2009/3/layout/HorizontalOrganizationChart"/>
    <dgm:cxn modelId="{E165885C-9CEA-C345-AF6A-53671F418BD9}" type="presParOf" srcId="{81FD91E7-153F-E340-AFDA-227DAC33D025}" destId="{DAF435B8-AC54-A04A-8555-5BB0F3161BCB}" srcOrd="0" destOrd="0" presId="urn:microsoft.com/office/officeart/2009/3/layout/HorizontalOrganizationChart"/>
    <dgm:cxn modelId="{55222C85-DED5-9043-AD36-12CCD106DCB9}" type="presParOf" srcId="{81FD91E7-153F-E340-AFDA-227DAC33D025}" destId="{88ABABA2-3722-EC40-B021-7572C797B7EE}" srcOrd="1" destOrd="0" presId="urn:microsoft.com/office/officeart/2009/3/layout/HorizontalOrganizationChart"/>
    <dgm:cxn modelId="{6AD25A79-C686-5243-82C9-81CBA57D0131}" type="presParOf" srcId="{D6477084-FA43-4A40-8DD1-3D425BC18EA4}" destId="{23F6E1D9-2C0C-804A-B29E-0E4ED44BE5CE}" srcOrd="1" destOrd="0" presId="urn:microsoft.com/office/officeart/2009/3/layout/HorizontalOrganizationChart"/>
    <dgm:cxn modelId="{9BE5E0D6-1D96-0946-855B-CF38710937C4}" type="presParOf" srcId="{23F6E1D9-2C0C-804A-B29E-0E4ED44BE5CE}" destId="{2EB48850-F88E-4446-A5F1-E491055A7AED}" srcOrd="0" destOrd="0" presId="urn:microsoft.com/office/officeart/2009/3/layout/HorizontalOrganizationChart"/>
    <dgm:cxn modelId="{3DD656A9-89E4-544D-8107-8889847D77BD}" type="presParOf" srcId="{23F6E1D9-2C0C-804A-B29E-0E4ED44BE5CE}" destId="{B22F6E30-8BE1-6846-A11D-72A994426CDE}" srcOrd="1" destOrd="0" presId="urn:microsoft.com/office/officeart/2009/3/layout/HorizontalOrganizationChart"/>
    <dgm:cxn modelId="{23D56F02-1B95-2546-AFA0-B2B7D2EBC8F0}" type="presParOf" srcId="{B22F6E30-8BE1-6846-A11D-72A994426CDE}" destId="{DE30CE67-9FB4-6742-B5E3-A80D7BA2862C}" srcOrd="0" destOrd="0" presId="urn:microsoft.com/office/officeart/2009/3/layout/HorizontalOrganizationChart"/>
    <dgm:cxn modelId="{298861E6-6560-2348-9DFC-FBC79BAFA63B}" type="presParOf" srcId="{DE30CE67-9FB4-6742-B5E3-A80D7BA2862C}" destId="{693F533D-A577-C443-9BDD-EC20C54CF7CF}" srcOrd="0" destOrd="0" presId="urn:microsoft.com/office/officeart/2009/3/layout/HorizontalOrganizationChart"/>
    <dgm:cxn modelId="{72EECB9C-2CB9-064A-A492-73B97427C08E}" type="presParOf" srcId="{DE30CE67-9FB4-6742-B5E3-A80D7BA2862C}" destId="{C900733E-715B-0D4B-9035-370EED05E2A6}" srcOrd="1" destOrd="0" presId="urn:microsoft.com/office/officeart/2009/3/layout/HorizontalOrganizationChart"/>
    <dgm:cxn modelId="{1C53550D-D49B-3544-BDF9-AE2C8C7129D6}" type="presParOf" srcId="{B22F6E30-8BE1-6846-A11D-72A994426CDE}" destId="{D07FFF6B-FDD2-C343-87B1-24188A0DF897}" srcOrd="1" destOrd="0" presId="urn:microsoft.com/office/officeart/2009/3/layout/HorizontalOrganizationChart"/>
    <dgm:cxn modelId="{E30A09FC-54C6-3748-9D8C-4F16D0DFE615}" type="presParOf" srcId="{B22F6E30-8BE1-6846-A11D-72A994426CDE}" destId="{0DC65666-B14F-924E-BE18-244E4CB3C599}" srcOrd="2" destOrd="0" presId="urn:microsoft.com/office/officeart/2009/3/layout/HorizontalOrganizationChart"/>
    <dgm:cxn modelId="{3BE4C916-B8AA-7A46-9071-8CFE2741BA97}" type="presParOf" srcId="{23F6E1D9-2C0C-804A-B29E-0E4ED44BE5CE}" destId="{5025B89C-BFAC-1749-BA34-E9E89FC4E403}" srcOrd="2" destOrd="0" presId="urn:microsoft.com/office/officeart/2009/3/layout/HorizontalOrganizationChart"/>
    <dgm:cxn modelId="{A8E11547-C8F9-8B43-9915-B64315AB7850}" type="presParOf" srcId="{23F6E1D9-2C0C-804A-B29E-0E4ED44BE5CE}" destId="{85DF342A-4C72-DD4B-83E0-F392438250E6}" srcOrd="3" destOrd="0" presId="urn:microsoft.com/office/officeart/2009/3/layout/HorizontalOrganizationChart"/>
    <dgm:cxn modelId="{07D40ACB-3DE7-1E44-958E-E119BFAB799E}" type="presParOf" srcId="{85DF342A-4C72-DD4B-83E0-F392438250E6}" destId="{4BE5DCA1-D133-7C46-ABB1-0D171A537DAA}" srcOrd="0" destOrd="0" presId="urn:microsoft.com/office/officeart/2009/3/layout/HorizontalOrganizationChart"/>
    <dgm:cxn modelId="{F4DD579C-EAAA-DB49-891F-CCC3F7BF178E}" type="presParOf" srcId="{4BE5DCA1-D133-7C46-ABB1-0D171A537DAA}" destId="{04F0C9FB-1872-FD45-919D-CD509CC7ACD2}" srcOrd="0" destOrd="0" presId="urn:microsoft.com/office/officeart/2009/3/layout/HorizontalOrganizationChart"/>
    <dgm:cxn modelId="{2E582D2C-788D-A54A-A4C3-F4565D7A23BA}" type="presParOf" srcId="{4BE5DCA1-D133-7C46-ABB1-0D171A537DAA}" destId="{4D714A61-ECC9-B449-937C-47DE61936903}" srcOrd="1" destOrd="0" presId="urn:microsoft.com/office/officeart/2009/3/layout/HorizontalOrganizationChart"/>
    <dgm:cxn modelId="{7F75A9E0-C517-D24C-B332-0E74529B4199}" type="presParOf" srcId="{85DF342A-4C72-DD4B-83E0-F392438250E6}" destId="{5525697B-7922-DC40-84C1-EBAA141A3678}" srcOrd="1" destOrd="0" presId="urn:microsoft.com/office/officeart/2009/3/layout/HorizontalOrganizationChart"/>
    <dgm:cxn modelId="{19DB126A-6AE4-294B-8505-6EB973F51A8B}" type="presParOf" srcId="{85DF342A-4C72-DD4B-83E0-F392438250E6}" destId="{D11EEA38-CB94-B649-A521-E829724500A4}" srcOrd="2" destOrd="0" presId="urn:microsoft.com/office/officeart/2009/3/layout/HorizontalOrganizationChart"/>
    <dgm:cxn modelId="{03F00735-DD2D-0C40-AD0A-6A5B983920AD}" type="presParOf" srcId="{23F6E1D9-2C0C-804A-B29E-0E4ED44BE5CE}" destId="{91A6EDE1-DEC0-964A-9560-6EF604D22C5C}" srcOrd="4" destOrd="0" presId="urn:microsoft.com/office/officeart/2009/3/layout/HorizontalOrganizationChart"/>
    <dgm:cxn modelId="{729178F8-2935-B245-B973-231DAA5778D1}" type="presParOf" srcId="{23F6E1D9-2C0C-804A-B29E-0E4ED44BE5CE}" destId="{FA7542C5-FB48-0D4C-9912-6E21FF376F18}" srcOrd="5" destOrd="0" presId="urn:microsoft.com/office/officeart/2009/3/layout/HorizontalOrganizationChart"/>
    <dgm:cxn modelId="{8660F3B0-21AB-C943-AC2F-37A836E2DF48}" type="presParOf" srcId="{FA7542C5-FB48-0D4C-9912-6E21FF376F18}" destId="{915724A2-BA3A-F64D-87ED-E60C5A399B9F}" srcOrd="0" destOrd="0" presId="urn:microsoft.com/office/officeart/2009/3/layout/HorizontalOrganizationChart"/>
    <dgm:cxn modelId="{E775DE86-7173-2744-9719-B045D447565B}" type="presParOf" srcId="{915724A2-BA3A-F64D-87ED-E60C5A399B9F}" destId="{6D78F15A-B86A-5D47-9B8E-74E5AABA5DEE}" srcOrd="0" destOrd="0" presId="urn:microsoft.com/office/officeart/2009/3/layout/HorizontalOrganizationChart"/>
    <dgm:cxn modelId="{7992C0B2-61F9-6743-B8C8-A9EB33DF97C9}" type="presParOf" srcId="{915724A2-BA3A-F64D-87ED-E60C5A399B9F}" destId="{4750112A-3894-5D41-A379-CEBF565E64F6}" srcOrd="1" destOrd="0" presId="urn:microsoft.com/office/officeart/2009/3/layout/HorizontalOrganizationChart"/>
    <dgm:cxn modelId="{9972EB41-F281-5444-B715-333FFE5300B9}" type="presParOf" srcId="{FA7542C5-FB48-0D4C-9912-6E21FF376F18}" destId="{EE8B2F2C-55F3-4542-A9F5-A482B4146717}" srcOrd="1" destOrd="0" presId="urn:microsoft.com/office/officeart/2009/3/layout/HorizontalOrganizationChart"/>
    <dgm:cxn modelId="{D4C510B7-08EA-634A-9018-B728FB16B014}" type="presParOf" srcId="{FA7542C5-FB48-0D4C-9912-6E21FF376F18}" destId="{1FE5A672-CE0F-0C4E-ACBB-FA7F3E2707B8}" srcOrd="2" destOrd="0" presId="urn:microsoft.com/office/officeart/2009/3/layout/HorizontalOrganizationChart"/>
    <dgm:cxn modelId="{8FCFB676-05BE-B249-9275-1D47A89861AE}" type="presParOf" srcId="{23F6E1D9-2C0C-804A-B29E-0E4ED44BE5CE}" destId="{699F8DD7-7177-2E45-833E-F4DBA93E05F1}" srcOrd="6" destOrd="0" presId="urn:microsoft.com/office/officeart/2009/3/layout/HorizontalOrganizationChart"/>
    <dgm:cxn modelId="{C3A625DD-991B-4941-A63A-93419DC1ECB1}" type="presParOf" srcId="{23F6E1D9-2C0C-804A-B29E-0E4ED44BE5CE}" destId="{75963F74-4672-134E-9F2C-DB06C6A5A06F}" srcOrd="7" destOrd="0" presId="urn:microsoft.com/office/officeart/2009/3/layout/HorizontalOrganizationChart"/>
    <dgm:cxn modelId="{EE85A185-516E-1B41-ACA1-D7E3612F67D8}" type="presParOf" srcId="{75963F74-4672-134E-9F2C-DB06C6A5A06F}" destId="{E38C26ED-EEEC-F44C-8DCF-4AAC0D8CCBC7}" srcOrd="0" destOrd="0" presId="urn:microsoft.com/office/officeart/2009/3/layout/HorizontalOrganizationChart"/>
    <dgm:cxn modelId="{7114A137-BC0C-314B-B73D-5E6BA182666B}" type="presParOf" srcId="{E38C26ED-EEEC-F44C-8DCF-4AAC0D8CCBC7}" destId="{52359433-2B0C-624E-8316-58A884DF6397}" srcOrd="0" destOrd="0" presId="urn:microsoft.com/office/officeart/2009/3/layout/HorizontalOrganizationChart"/>
    <dgm:cxn modelId="{29808B5A-3919-C745-985F-D68CD61304AB}" type="presParOf" srcId="{E38C26ED-EEEC-F44C-8DCF-4AAC0D8CCBC7}" destId="{02EA0B59-0086-E84B-8E64-ED4BC9D03C03}" srcOrd="1" destOrd="0" presId="urn:microsoft.com/office/officeart/2009/3/layout/HorizontalOrganizationChart"/>
    <dgm:cxn modelId="{593F99DF-53A8-5C45-A507-1084BC098D4C}" type="presParOf" srcId="{75963F74-4672-134E-9F2C-DB06C6A5A06F}" destId="{CC113A83-E54F-9A4B-BBD6-9D46E4A95E48}" srcOrd="1" destOrd="0" presId="urn:microsoft.com/office/officeart/2009/3/layout/HorizontalOrganizationChart"/>
    <dgm:cxn modelId="{CE509549-4B86-A54C-AC9E-21B711EADD01}" type="presParOf" srcId="{75963F74-4672-134E-9F2C-DB06C6A5A06F}" destId="{F15A4E55-44BD-1646-B4AA-725836315AA0}" srcOrd="2" destOrd="0" presId="urn:microsoft.com/office/officeart/2009/3/layout/HorizontalOrganizationChart"/>
    <dgm:cxn modelId="{A7780615-85FF-8342-9A8A-BF116729DE1B}" type="presParOf" srcId="{23F6E1D9-2C0C-804A-B29E-0E4ED44BE5CE}" destId="{1B76CE1D-1986-3C42-8928-376342AF5685}" srcOrd="8" destOrd="0" presId="urn:microsoft.com/office/officeart/2009/3/layout/HorizontalOrganizationChart"/>
    <dgm:cxn modelId="{AA780C0D-F8A1-7B40-A101-DACDA00E598F}" type="presParOf" srcId="{23F6E1D9-2C0C-804A-B29E-0E4ED44BE5CE}" destId="{812A18E4-4F7A-FA48-8905-936ADBEB4B0A}" srcOrd="9" destOrd="0" presId="urn:microsoft.com/office/officeart/2009/3/layout/HorizontalOrganizationChart"/>
    <dgm:cxn modelId="{0771814E-69CE-8B41-9597-7FA5306D02ED}" type="presParOf" srcId="{812A18E4-4F7A-FA48-8905-936ADBEB4B0A}" destId="{4129D7E6-A527-7242-BAD0-BBCF3EE4D5CE}" srcOrd="0" destOrd="0" presId="urn:microsoft.com/office/officeart/2009/3/layout/HorizontalOrganizationChart"/>
    <dgm:cxn modelId="{C8FF1A73-0788-254A-9A79-3CD030B5A00A}" type="presParOf" srcId="{4129D7E6-A527-7242-BAD0-BBCF3EE4D5CE}" destId="{F0A59A47-9F2A-4346-96DA-3115F6E50019}" srcOrd="0" destOrd="0" presId="urn:microsoft.com/office/officeart/2009/3/layout/HorizontalOrganizationChart"/>
    <dgm:cxn modelId="{15821FB0-E3AC-394D-A6A9-8F705179353B}" type="presParOf" srcId="{4129D7E6-A527-7242-BAD0-BBCF3EE4D5CE}" destId="{3302CFCE-7FF5-5844-9AC6-B5119110B97B}" srcOrd="1" destOrd="0" presId="urn:microsoft.com/office/officeart/2009/3/layout/HorizontalOrganizationChart"/>
    <dgm:cxn modelId="{74027B86-5A95-0F4F-9F8D-7F1C4FAAB1B1}" type="presParOf" srcId="{812A18E4-4F7A-FA48-8905-936ADBEB4B0A}" destId="{29C93E5A-9E1E-5344-BC28-49BCD0B33994}" srcOrd="1" destOrd="0" presId="urn:microsoft.com/office/officeart/2009/3/layout/HorizontalOrganizationChart"/>
    <dgm:cxn modelId="{ECDD3737-2150-1B4B-B7E9-87C7738F8F6F}" type="presParOf" srcId="{812A18E4-4F7A-FA48-8905-936ADBEB4B0A}" destId="{F857A609-1AA2-9A42-8680-C5B24BB720B2}" srcOrd="2" destOrd="0" presId="urn:microsoft.com/office/officeart/2009/3/layout/HorizontalOrganizationChart"/>
    <dgm:cxn modelId="{9D4BA7A5-A05C-7E49-8608-D760FA029430}" type="presParOf" srcId="{23F6E1D9-2C0C-804A-B29E-0E4ED44BE5CE}" destId="{A887A7AC-EDAC-2F46-93F7-155DA1233AD6}" srcOrd="10" destOrd="0" presId="urn:microsoft.com/office/officeart/2009/3/layout/HorizontalOrganizationChart"/>
    <dgm:cxn modelId="{A9842748-E140-3344-90E4-A6233C027599}" type="presParOf" srcId="{23F6E1D9-2C0C-804A-B29E-0E4ED44BE5CE}" destId="{94A7E8BA-FCE3-984A-8787-7CF1989BB45E}" srcOrd="11" destOrd="0" presId="urn:microsoft.com/office/officeart/2009/3/layout/HorizontalOrganizationChart"/>
    <dgm:cxn modelId="{4EB9657E-D3D1-D844-8D4D-3FDAE8840838}" type="presParOf" srcId="{94A7E8BA-FCE3-984A-8787-7CF1989BB45E}" destId="{39BC0B8C-E0C6-994E-A60E-4F03027DDC35}" srcOrd="0" destOrd="0" presId="urn:microsoft.com/office/officeart/2009/3/layout/HorizontalOrganizationChart"/>
    <dgm:cxn modelId="{AF1B564D-AC8C-8D49-8702-1CAE9D83BA85}" type="presParOf" srcId="{39BC0B8C-E0C6-994E-A60E-4F03027DDC35}" destId="{B588A0C4-2648-064E-919C-A29258937C9D}" srcOrd="0" destOrd="0" presId="urn:microsoft.com/office/officeart/2009/3/layout/HorizontalOrganizationChart"/>
    <dgm:cxn modelId="{4EF31468-E9AA-D941-B33E-F8CB6C859C47}" type="presParOf" srcId="{39BC0B8C-E0C6-994E-A60E-4F03027DDC35}" destId="{01609304-2552-ED45-9596-EF54BE26DD7E}" srcOrd="1" destOrd="0" presId="urn:microsoft.com/office/officeart/2009/3/layout/HorizontalOrganizationChart"/>
    <dgm:cxn modelId="{0D0CEF0F-399D-F344-BF84-2410BE0B5A98}" type="presParOf" srcId="{94A7E8BA-FCE3-984A-8787-7CF1989BB45E}" destId="{8CA5E661-878D-3140-9EBD-069BF972977A}" srcOrd="1" destOrd="0" presId="urn:microsoft.com/office/officeart/2009/3/layout/HorizontalOrganizationChart"/>
    <dgm:cxn modelId="{56877C7E-E955-D144-ADF4-51DD25D59177}" type="presParOf" srcId="{94A7E8BA-FCE3-984A-8787-7CF1989BB45E}" destId="{D81923B1-B2C5-5647-B814-010A143D8B9B}" srcOrd="2" destOrd="0" presId="urn:microsoft.com/office/officeart/2009/3/layout/HorizontalOrganizationChart"/>
    <dgm:cxn modelId="{49E7EC34-F83B-2347-AFE6-39A003A55F25}" type="presParOf" srcId="{23F6E1D9-2C0C-804A-B29E-0E4ED44BE5CE}" destId="{D318C644-F6F3-4C4E-B8D5-EB3E2BC6AED7}" srcOrd="12" destOrd="0" presId="urn:microsoft.com/office/officeart/2009/3/layout/HorizontalOrganizationChart"/>
    <dgm:cxn modelId="{0CE41EEC-AFD5-9E47-B134-26C32855A75D}" type="presParOf" srcId="{23F6E1D9-2C0C-804A-B29E-0E4ED44BE5CE}" destId="{9B691CDD-0DC4-4149-A7AF-B9F41961FED2}" srcOrd="13" destOrd="0" presId="urn:microsoft.com/office/officeart/2009/3/layout/HorizontalOrganizationChart"/>
    <dgm:cxn modelId="{41EEF8FA-8DE1-E845-B41D-161F71ACE827}" type="presParOf" srcId="{9B691CDD-0DC4-4149-A7AF-B9F41961FED2}" destId="{4A7A8E3C-8759-2344-8F8A-18637CCBD1EB}" srcOrd="0" destOrd="0" presId="urn:microsoft.com/office/officeart/2009/3/layout/HorizontalOrganizationChart"/>
    <dgm:cxn modelId="{1A739CDF-964A-FF43-8081-31C829CC7746}" type="presParOf" srcId="{4A7A8E3C-8759-2344-8F8A-18637CCBD1EB}" destId="{79CA8CBE-EF24-5548-9ED9-11684E28E9E9}" srcOrd="0" destOrd="0" presId="urn:microsoft.com/office/officeart/2009/3/layout/HorizontalOrganizationChart"/>
    <dgm:cxn modelId="{ED7031C7-418A-FA46-9133-FAE9017FA3A0}" type="presParOf" srcId="{4A7A8E3C-8759-2344-8F8A-18637CCBD1EB}" destId="{2541EF95-CD7D-A84E-B74C-0EE687A59494}" srcOrd="1" destOrd="0" presId="urn:microsoft.com/office/officeart/2009/3/layout/HorizontalOrganizationChart"/>
    <dgm:cxn modelId="{54CAD2F1-390A-EF48-A173-5E10E5379EDF}" type="presParOf" srcId="{9B691CDD-0DC4-4149-A7AF-B9F41961FED2}" destId="{18946F9F-AFDF-5D4E-A983-159E614A33A1}" srcOrd="1" destOrd="0" presId="urn:microsoft.com/office/officeart/2009/3/layout/HorizontalOrganizationChart"/>
    <dgm:cxn modelId="{5A5282CA-BF2D-1A46-A059-5F9CDC816EC9}" type="presParOf" srcId="{18946F9F-AFDF-5D4E-A983-159E614A33A1}" destId="{F6BD34C8-4476-0849-8E73-FD62361461B9}" srcOrd="0" destOrd="0" presId="urn:microsoft.com/office/officeart/2009/3/layout/HorizontalOrganizationChart"/>
    <dgm:cxn modelId="{1D80A7BB-0F37-1247-A837-EA71DE4C216A}" type="presParOf" srcId="{18946F9F-AFDF-5D4E-A983-159E614A33A1}" destId="{925E7833-FB24-3A44-A4DD-0D72A3FA5B59}" srcOrd="1" destOrd="0" presId="urn:microsoft.com/office/officeart/2009/3/layout/HorizontalOrganizationChart"/>
    <dgm:cxn modelId="{7369CA6C-7981-4D47-89E3-807E828288AF}" type="presParOf" srcId="{925E7833-FB24-3A44-A4DD-0D72A3FA5B59}" destId="{3E4AF3C3-833D-7947-86F1-689679F6A481}" srcOrd="0" destOrd="0" presId="urn:microsoft.com/office/officeart/2009/3/layout/HorizontalOrganizationChart"/>
    <dgm:cxn modelId="{0873588A-1D4E-0943-9D8F-F49422650CF3}" type="presParOf" srcId="{3E4AF3C3-833D-7947-86F1-689679F6A481}" destId="{F0490598-B026-E649-861F-438716F1D831}" srcOrd="0" destOrd="0" presId="urn:microsoft.com/office/officeart/2009/3/layout/HorizontalOrganizationChart"/>
    <dgm:cxn modelId="{6288492C-788F-7647-988C-703B8C91636B}" type="presParOf" srcId="{3E4AF3C3-833D-7947-86F1-689679F6A481}" destId="{1A50727A-1A53-084D-A788-A981E4ADFDA6}" srcOrd="1" destOrd="0" presId="urn:microsoft.com/office/officeart/2009/3/layout/HorizontalOrganizationChart"/>
    <dgm:cxn modelId="{F3A9234D-D960-684C-8E22-55FE49574027}" type="presParOf" srcId="{925E7833-FB24-3A44-A4DD-0D72A3FA5B59}" destId="{994AF5E2-7750-3146-A457-B08E5314B434}" srcOrd="1" destOrd="0" presId="urn:microsoft.com/office/officeart/2009/3/layout/HorizontalOrganizationChart"/>
    <dgm:cxn modelId="{D5E33DAF-82C8-D04C-998B-B5BFDCDDABD8}" type="presParOf" srcId="{925E7833-FB24-3A44-A4DD-0D72A3FA5B59}" destId="{EABC90C7-D7AE-A243-ADD7-A6BC906BAF03}" srcOrd="2" destOrd="0" presId="urn:microsoft.com/office/officeart/2009/3/layout/HorizontalOrganizationChart"/>
    <dgm:cxn modelId="{E6109BFB-D5CF-6E47-9BEE-64EB1856D596}" type="presParOf" srcId="{18946F9F-AFDF-5D4E-A983-159E614A33A1}" destId="{E70A53D6-C946-F24F-837C-9831902AEC17}" srcOrd="2" destOrd="0" presId="urn:microsoft.com/office/officeart/2009/3/layout/HorizontalOrganizationChart"/>
    <dgm:cxn modelId="{A497A40A-84E1-2B43-A993-AC02975CD581}" type="presParOf" srcId="{18946F9F-AFDF-5D4E-A983-159E614A33A1}" destId="{20BE7BE1-990B-A245-8BDC-DA82752858D6}" srcOrd="3" destOrd="0" presId="urn:microsoft.com/office/officeart/2009/3/layout/HorizontalOrganizationChart"/>
    <dgm:cxn modelId="{C9A1041E-E9B4-4343-9898-7B2B3D50C4FA}" type="presParOf" srcId="{20BE7BE1-990B-A245-8BDC-DA82752858D6}" destId="{2C7652FB-A46A-644A-8B76-09B8DEC84CBE}" srcOrd="0" destOrd="0" presId="urn:microsoft.com/office/officeart/2009/3/layout/HorizontalOrganizationChart"/>
    <dgm:cxn modelId="{76C901C7-5523-824B-BA75-008DFAEF09FB}" type="presParOf" srcId="{2C7652FB-A46A-644A-8B76-09B8DEC84CBE}" destId="{B13F2836-7C6D-BE43-9201-7E32A5B1A68B}" srcOrd="0" destOrd="0" presId="urn:microsoft.com/office/officeart/2009/3/layout/HorizontalOrganizationChart"/>
    <dgm:cxn modelId="{45CDA348-2894-BA40-82D0-B5504D421E93}" type="presParOf" srcId="{2C7652FB-A46A-644A-8B76-09B8DEC84CBE}" destId="{759B3E6D-9356-DB4C-B128-1EE633A144C3}" srcOrd="1" destOrd="0" presId="urn:microsoft.com/office/officeart/2009/3/layout/HorizontalOrganizationChart"/>
    <dgm:cxn modelId="{393D9598-DD32-D545-8B77-A3518D98C5D9}" type="presParOf" srcId="{20BE7BE1-990B-A245-8BDC-DA82752858D6}" destId="{43047578-E0EF-B74B-8967-7F088BDF4149}" srcOrd="1" destOrd="0" presId="urn:microsoft.com/office/officeart/2009/3/layout/HorizontalOrganizationChart"/>
    <dgm:cxn modelId="{C91FEA99-E8A0-484B-A8AE-632214298B05}" type="presParOf" srcId="{20BE7BE1-990B-A245-8BDC-DA82752858D6}" destId="{2A2896E8-155D-7A46-B449-9F240A2006C9}" srcOrd="2" destOrd="0" presId="urn:microsoft.com/office/officeart/2009/3/layout/HorizontalOrganizationChart"/>
    <dgm:cxn modelId="{BCA9F6EE-E8A4-9B43-83EE-4A17C0F971B4}" type="presParOf" srcId="{9B691CDD-0DC4-4149-A7AF-B9F41961FED2}" destId="{7A86203B-C882-EE49-9118-6CA8003ECB36}" srcOrd="2" destOrd="0" presId="urn:microsoft.com/office/officeart/2009/3/layout/HorizontalOrganizationChart"/>
    <dgm:cxn modelId="{F57DABCB-3F56-0849-B028-F6C33ED57DC1}" type="presParOf" srcId="{23F6E1D9-2C0C-804A-B29E-0E4ED44BE5CE}" destId="{46416D42-0884-D447-B39A-6897E67A389B}" srcOrd="14" destOrd="0" presId="urn:microsoft.com/office/officeart/2009/3/layout/HorizontalOrganizationChart"/>
    <dgm:cxn modelId="{1D656D32-79BD-B74E-B54B-1DC2172C4E48}" type="presParOf" srcId="{23F6E1D9-2C0C-804A-B29E-0E4ED44BE5CE}" destId="{36E9365D-187B-B444-8ADE-2AD1C4C6D7A4}" srcOrd="15" destOrd="0" presId="urn:microsoft.com/office/officeart/2009/3/layout/HorizontalOrganizationChart"/>
    <dgm:cxn modelId="{E91C6BF4-79A8-4C4D-8DC6-E18D38017D12}" type="presParOf" srcId="{36E9365D-187B-B444-8ADE-2AD1C4C6D7A4}" destId="{FAF95924-8021-B14B-9342-2FB5364B96D9}" srcOrd="0" destOrd="0" presId="urn:microsoft.com/office/officeart/2009/3/layout/HorizontalOrganizationChart"/>
    <dgm:cxn modelId="{85B489D8-9BCC-3643-AD8A-F5EEB861CF5B}" type="presParOf" srcId="{FAF95924-8021-B14B-9342-2FB5364B96D9}" destId="{79ED6464-2B13-C24F-836C-30FBBA91E97E}" srcOrd="0" destOrd="0" presId="urn:microsoft.com/office/officeart/2009/3/layout/HorizontalOrganizationChart"/>
    <dgm:cxn modelId="{E8B6B76F-AB04-5A40-B4CD-D679F26F4890}" type="presParOf" srcId="{FAF95924-8021-B14B-9342-2FB5364B96D9}" destId="{DBB657D1-BAE0-1A48-A375-8A7BE01C9A81}" srcOrd="1" destOrd="0" presId="urn:microsoft.com/office/officeart/2009/3/layout/HorizontalOrganizationChart"/>
    <dgm:cxn modelId="{0013E1F2-68D7-9143-BE11-9E095A3DB284}" type="presParOf" srcId="{36E9365D-187B-B444-8ADE-2AD1C4C6D7A4}" destId="{9A5DB202-F7FC-6F4B-AD75-E30B225FFA21}" srcOrd="1" destOrd="0" presId="urn:microsoft.com/office/officeart/2009/3/layout/HorizontalOrganizationChart"/>
    <dgm:cxn modelId="{47E20C7E-9E0A-1E4C-B998-F356A32405D7}" type="presParOf" srcId="{36E9365D-187B-B444-8ADE-2AD1C4C6D7A4}" destId="{3CC62885-BC88-9442-971A-28B93EDAB1FB}" srcOrd="2" destOrd="0" presId="urn:microsoft.com/office/officeart/2009/3/layout/HorizontalOrganizationChart"/>
    <dgm:cxn modelId="{5EDB3F6F-9870-5540-98B4-5295C4E27E02}" type="presParOf" srcId="{23F6E1D9-2C0C-804A-B29E-0E4ED44BE5CE}" destId="{18645229-794C-004D-A1C3-80B20FE346D6}" srcOrd="16" destOrd="0" presId="urn:microsoft.com/office/officeart/2009/3/layout/HorizontalOrganizationChart"/>
    <dgm:cxn modelId="{2684F735-4E01-7F41-AE03-5E158374C0DF}" type="presParOf" srcId="{23F6E1D9-2C0C-804A-B29E-0E4ED44BE5CE}" destId="{72B6B93B-CAF4-7F40-8D36-3B630C935673}" srcOrd="17" destOrd="0" presId="urn:microsoft.com/office/officeart/2009/3/layout/HorizontalOrganizationChart"/>
    <dgm:cxn modelId="{23ED8FC5-90FD-164B-852C-73668BA28B4B}" type="presParOf" srcId="{72B6B93B-CAF4-7F40-8D36-3B630C935673}" destId="{6297D8A5-9D8F-EF4A-9460-3EBA6A5CB15A}" srcOrd="0" destOrd="0" presId="urn:microsoft.com/office/officeart/2009/3/layout/HorizontalOrganizationChart"/>
    <dgm:cxn modelId="{AB27A167-ACFF-8A47-896A-026B486DED3F}" type="presParOf" srcId="{6297D8A5-9D8F-EF4A-9460-3EBA6A5CB15A}" destId="{70977390-730E-F949-940A-2D0B59380857}" srcOrd="0" destOrd="0" presId="urn:microsoft.com/office/officeart/2009/3/layout/HorizontalOrganizationChart"/>
    <dgm:cxn modelId="{07F0E035-334A-DF48-BB41-C5CA9EE16F5B}" type="presParOf" srcId="{6297D8A5-9D8F-EF4A-9460-3EBA6A5CB15A}" destId="{4DB3980C-0255-4849-9D19-CBED43BF9F43}" srcOrd="1" destOrd="0" presId="urn:microsoft.com/office/officeart/2009/3/layout/HorizontalOrganizationChart"/>
    <dgm:cxn modelId="{9F58C6D3-E0E7-044A-ADEC-89D4CEC58BE5}" type="presParOf" srcId="{72B6B93B-CAF4-7F40-8D36-3B630C935673}" destId="{FA6E732F-D039-C84B-B901-BD044096C9C2}" srcOrd="1" destOrd="0" presId="urn:microsoft.com/office/officeart/2009/3/layout/HorizontalOrganizationChart"/>
    <dgm:cxn modelId="{EE164617-F9D9-A742-BF7A-CF4B49DE61F1}" type="presParOf" srcId="{72B6B93B-CAF4-7F40-8D36-3B630C935673}" destId="{A72B18A0-1ABA-DE45-BFD6-16A699BBEE0A}" srcOrd="2" destOrd="0" presId="urn:microsoft.com/office/officeart/2009/3/layout/HorizontalOrganizationChart"/>
    <dgm:cxn modelId="{6B31875B-F786-9343-BF41-82A8FC1FBDD3}" type="presParOf" srcId="{D6477084-FA43-4A40-8DD1-3D425BC18EA4}" destId="{A19E0454-B00A-1C49-80CC-A8174950C984}" srcOrd="2" destOrd="0" presId="urn:microsoft.com/office/officeart/2009/3/layout/HorizontalOrganizationChar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D9B0BE5-F451-AE44-9B29-AE62DFDE9BAD}" type="doc">
      <dgm:prSet loTypeId="urn:microsoft.com/office/officeart/2005/8/layout/hierarchy3" loCatId="" qsTypeId="urn:microsoft.com/office/officeart/2005/8/quickstyle/simple4" qsCatId="simple" csTypeId="urn:microsoft.com/office/officeart/2005/8/colors/accent0_3" csCatId="mainScheme" phldr="1"/>
      <dgm:spPr/>
      <dgm:t>
        <a:bodyPr/>
        <a:lstStyle/>
        <a:p>
          <a:endParaRPr lang="en-US"/>
        </a:p>
      </dgm:t>
    </dgm:pt>
    <dgm:pt modelId="{A93A9E4C-E7D0-FD43-9FB4-8DBFA8D52D70}">
      <dgm:prSet phldrT="[Text]" custT="1"/>
      <dgm:spPr/>
      <dgm:t>
        <a:bodyPr/>
        <a:lstStyle/>
        <a:p>
          <a:r>
            <a:rPr lang="en-US" sz="1100" b="1" dirty="0"/>
            <a:t>Interaction with External World</a:t>
          </a:r>
        </a:p>
      </dgm:t>
    </dgm:pt>
    <dgm:pt modelId="{2A68335A-5EE8-7946-BC00-E2667CBF3CE7}" type="parTrans" cxnId="{5921D81E-C961-5041-A1DF-0F2C4F7553B6}">
      <dgm:prSet/>
      <dgm:spPr/>
      <dgm:t>
        <a:bodyPr/>
        <a:lstStyle/>
        <a:p>
          <a:endParaRPr lang="en-US" b="1"/>
        </a:p>
      </dgm:t>
    </dgm:pt>
    <dgm:pt modelId="{9B94EF06-5AEB-7C4E-95D8-9DB2D3C38CA9}" type="sibTrans" cxnId="{5921D81E-C961-5041-A1DF-0F2C4F7553B6}">
      <dgm:prSet/>
      <dgm:spPr/>
      <dgm:t>
        <a:bodyPr/>
        <a:lstStyle/>
        <a:p>
          <a:endParaRPr lang="en-US" b="1"/>
        </a:p>
      </dgm:t>
    </dgm:pt>
    <dgm:pt modelId="{42BF2C42-76AF-0C47-87F9-E812DD474A24}">
      <dgm:prSet phldrT="[Text]"/>
      <dgm:spPr/>
      <dgm:t>
        <a:bodyPr/>
        <a:lstStyle/>
        <a:p>
          <a:r>
            <a:rPr lang="en-US" b="1" dirty="0"/>
            <a:t>Centralized Oracle</a:t>
          </a:r>
        </a:p>
      </dgm:t>
    </dgm:pt>
    <dgm:pt modelId="{FC20E98D-423C-7D44-9229-F20C9684638E}" type="parTrans" cxnId="{FB0CF7AB-B4A5-1748-B93F-F032F0819793}">
      <dgm:prSet/>
      <dgm:spPr/>
      <dgm:t>
        <a:bodyPr/>
        <a:lstStyle/>
        <a:p>
          <a:endParaRPr lang="en-US" b="1"/>
        </a:p>
      </dgm:t>
    </dgm:pt>
    <dgm:pt modelId="{8AB44F8F-7C12-D34C-A8C0-B88B856282B8}" type="sibTrans" cxnId="{FB0CF7AB-B4A5-1748-B93F-F032F0819793}">
      <dgm:prSet/>
      <dgm:spPr/>
      <dgm:t>
        <a:bodyPr/>
        <a:lstStyle/>
        <a:p>
          <a:endParaRPr lang="en-US" b="1"/>
        </a:p>
      </dgm:t>
    </dgm:pt>
    <dgm:pt modelId="{93922F64-2A70-7F4F-A483-8B65EADE1C56}">
      <dgm:prSet phldrT="[Text]"/>
      <dgm:spPr/>
      <dgm:t>
        <a:bodyPr/>
        <a:lstStyle/>
        <a:p>
          <a:r>
            <a:rPr lang="en-US" b="1" dirty="0"/>
            <a:t>Decentralized Oracle</a:t>
          </a:r>
        </a:p>
      </dgm:t>
    </dgm:pt>
    <dgm:pt modelId="{EE0E0967-FB18-3843-A445-F9E668C5B807}" type="parTrans" cxnId="{FEA9FBBB-6DAF-E94D-A4C7-F9E9D754E30E}">
      <dgm:prSet/>
      <dgm:spPr/>
      <dgm:t>
        <a:bodyPr/>
        <a:lstStyle/>
        <a:p>
          <a:endParaRPr lang="en-US" b="1"/>
        </a:p>
      </dgm:t>
    </dgm:pt>
    <dgm:pt modelId="{CE6E5C10-3507-BA4C-AF7F-50D58E676809}" type="sibTrans" cxnId="{FEA9FBBB-6DAF-E94D-A4C7-F9E9D754E30E}">
      <dgm:prSet/>
      <dgm:spPr/>
      <dgm:t>
        <a:bodyPr/>
        <a:lstStyle/>
        <a:p>
          <a:endParaRPr lang="en-US" b="1"/>
        </a:p>
      </dgm:t>
    </dgm:pt>
    <dgm:pt modelId="{E45252E5-FABB-8C40-806C-3AFF4E75FCE9}">
      <dgm:prSet phldrT="[Text]" custT="1"/>
      <dgm:spPr/>
      <dgm:t>
        <a:bodyPr/>
        <a:lstStyle/>
        <a:p>
          <a:r>
            <a:rPr lang="en-US" sz="1100" b="1" dirty="0"/>
            <a:t>Data Management</a:t>
          </a:r>
        </a:p>
      </dgm:t>
    </dgm:pt>
    <dgm:pt modelId="{EFF56ECC-82CF-9E48-8A6B-9F7BE1AD3166}" type="parTrans" cxnId="{64AB747B-70D3-BB4D-B4F4-9B27A1465802}">
      <dgm:prSet/>
      <dgm:spPr/>
      <dgm:t>
        <a:bodyPr/>
        <a:lstStyle/>
        <a:p>
          <a:endParaRPr lang="en-US" b="1"/>
        </a:p>
      </dgm:t>
    </dgm:pt>
    <dgm:pt modelId="{52E1C086-FA7D-2241-9528-6BB9F16171F3}" type="sibTrans" cxnId="{64AB747B-70D3-BB4D-B4F4-9B27A1465802}">
      <dgm:prSet/>
      <dgm:spPr/>
      <dgm:t>
        <a:bodyPr/>
        <a:lstStyle/>
        <a:p>
          <a:endParaRPr lang="en-US" b="1"/>
        </a:p>
      </dgm:t>
    </dgm:pt>
    <dgm:pt modelId="{206D0424-0AA5-1944-8E06-3FA46661E66D}">
      <dgm:prSet phldrT="[Text]"/>
      <dgm:spPr/>
      <dgm:t>
        <a:bodyPr/>
        <a:lstStyle/>
        <a:p>
          <a:r>
            <a:rPr lang="en-US" b="1" dirty="0"/>
            <a:t>Encrypting On-chain Data</a:t>
          </a:r>
        </a:p>
      </dgm:t>
    </dgm:pt>
    <dgm:pt modelId="{B91791F1-5F93-AB4C-84CF-846BC1547244}" type="parTrans" cxnId="{3B755B28-7371-B34D-A565-29324668190F}">
      <dgm:prSet/>
      <dgm:spPr/>
      <dgm:t>
        <a:bodyPr/>
        <a:lstStyle/>
        <a:p>
          <a:endParaRPr lang="en-US" b="1"/>
        </a:p>
      </dgm:t>
    </dgm:pt>
    <dgm:pt modelId="{698EEEE6-E658-E842-A101-A179B9FDF06D}" type="sibTrans" cxnId="{3B755B28-7371-B34D-A565-29324668190F}">
      <dgm:prSet/>
      <dgm:spPr/>
      <dgm:t>
        <a:bodyPr/>
        <a:lstStyle/>
        <a:p>
          <a:endParaRPr lang="en-US" b="1"/>
        </a:p>
      </dgm:t>
    </dgm:pt>
    <dgm:pt modelId="{5795DD57-74CB-CB48-8D1D-45DA4D8935E8}">
      <dgm:prSet phldrT="[Text]"/>
      <dgm:spPr/>
      <dgm:t>
        <a:bodyPr/>
        <a:lstStyle/>
        <a:p>
          <a:r>
            <a:rPr lang="en-US" b="1" dirty="0"/>
            <a:t>Voting</a:t>
          </a:r>
        </a:p>
      </dgm:t>
    </dgm:pt>
    <dgm:pt modelId="{6AFE073A-80E7-F748-9A7F-B9B70E9AE933}" type="parTrans" cxnId="{7480D72E-87E8-AA48-BC7C-7F79AAF4E0A7}">
      <dgm:prSet/>
      <dgm:spPr/>
      <dgm:t>
        <a:bodyPr/>
        <a:lstStyle/>
        <a:p>
          <a:endParaRPr lang="en-US" b="1"/>
        </a:p>
      </dgm:t>
    </dgm:pt>
    <dgm:pt modelId="{EECE744A-6A32-6E4F-BC5F-ABDF090D22B7}" type="sibTrans" cxnId="{7480D72E-87E8-AA48-BC7C-7F79AAF4E0A7}">
      <dgm:prSet/>
      <dgm:spPr/>
      <dgm:t>
        <a:bodyPr/>
        <a:lstStyle/>
        <a:p>
          <a:endParaRPr lang="en-US" b="1"/>
        </a:p>
      </dgm:t>
    </dgm:pt>
    <dgm:pt modelId="{3A8FFC6B-BF3F-0D49-A951-6E7772E893A0}">
      <dgm:prSet phldrT="[Text]"/>
      <dgm:spPr/>
      <dgm:t>
        <a:bodyPr/>
        <a:lstStyle/>
        <a:p>
          <a:r>
            <a:rPr lang="en-US" b="1" dirty="0" err="1"/>
            <a:t>Tokenisation</a:t>
          </a:r>
          <a:endParaRPr lang="en-US" b="1" dirty="0"/>
        </a:p>
      </dgm:t>
    </dgm:pt>
    <dgm:pt modelId="{08E4D433-C82D-6B4D-8DB3-EA333B4E418F}" type="parTrans" cxnId="{33ACCC18-5A2F-F04F-9F3E-FC1215629D5A}">
      <dgm:prSet/>
      <dgm:spPr/>
      <dgm:t>
        <a:bodyPr/>
        <a:lstStyle/>
        <a:p>
          <a:endParaRPr lang="en-US" b="1"/>
        </a:p>
      </dgm:t>
    </dgm:pt>
    <dgm:pt modelId="{A7370645-CD41-2C49-8423-6BDAF87D87E7}" type="sibTrans" cxnId="{33ACCC18-5A2F-F04F-9F3E-FC1215629D5A}">
      <dgm:prSet/>
      <dgm:spPr/>
      <dgm:t>
        <a:bodyPr/>
        <a:lstStyle/>
        <a:p>
          <a:endParaRPr lang="en-US" b="1"/>
        </a:p>
      </dgm:t>
    </dgm:pt>
    <dgm:pt modelId="{14DA0B7A-897A-7C41-9759-93C7D9C8F0EA}">
      <dgm:prSet phldrT="[Text]" custT="1"/>
      <dgm:spPr/>
      <dgm:t>
        <a:bodyPr/>
        <a:lstStyle/>
        <a:p>
          <a:r>
            <a:rPr lang="en-US" sz="1100" b="1" dirty="0"/>
            <a:t>Security</a:t>
          </a:r>
        </a:p>
      </dgm:t>
    </dgm:pt>
    <dgm:pt modelId="{D2B86BAF-5275-4D4D-9C82-E31191138425}" type="parTrans" cxnId="{84993AB0-7075-DE4A-A5B4-9CAF94740A6F}">
      <dgm:prSet/>
      <dgm:spPr/>
      <dgm:t>
        <a:bodyPr/>
        <a:lstStyle/>
        <a:p>
          <a:endParaRPr lang="en-US" b="1"/>
        </a:p>
      </dgm:t>
    </dgm:pt>
    <dgm:pt modelId="{E0F68FFC-15D7-CF4B-8542-EE341028D7F9}" type="sibTrans" cxnId="{84993AB0-7075-DE4A-A5B4-9CAF94740A6F}">
      <dgm:prSet/>
      <dgm:spPr/>
      <dgm:t>
        <a:bodyPr/>
        <a:lstStyle/>
        <a:p>
          <a:endParaRPr lang="en-US" b="1"/>
        </a:p>
      </dgm:t>
    </dgm:pt>
    <dgm:pt modelId="{9C97E3CD-9DB7-8547-A1AF-3A54690762ED}">
      <dgm:prSet phldrT="[Text]"/>
      <dgm:spPr/>
      <dgm:t>
        <a:bodyPr/>
        <a:lstStyle/>
        <a:p>
          <a:r>
            <a:rPr lang="en-US" b="1" dirty="0"/>
            <a:t>Multiple Authorization</a:t>
          </a:r>
        </a:p>
      </dgm:t>
    </dgm:pt>
    <dgm:pt modelId="{6DC3CD95-3A31-3D40-AA3D-5BB5D36AE273}" type="parTrans" cxnId="{D65BBDE4-4619-9C49-A3E3-CB9EDAD0E371}">
      <dgm:prSet/>
      <dgm:spPr/>
      <dgm:t>
        <a:bodyPr/>
        <a:lstStyle/>
        <a:p>
          <a:endParaRPr lang="en-US" b="1"/>
        </a:p>
      </dgm:t>
    </dgm:pt>
    <dgm:pt modelId="{DF5AEB34-CC70-9749-8E94-6A2405799434}" type="sibTrans" cxnId="{D65BBDE4-4619-9C49-A3E3-CB9EDAD0E371}">
      <dgm:prSet/>
      <dgm:spPr/>
      <dgm:t>
        <a:bodyPr/>
        <a:lstStyle/>
        <a:p>
          <a:endParaRPr lang="en-US" b="1"/>
        </a:p>
      </dgm:t>
    </dgm:pt>
    <dgm:pt modelId="{4BB958FD-9F3E-B344-BCB4-42AC09735FE8}">
      <dgm:prSet phldrT="[Text]"/>
      <dgm:spPr/>
      <dgm:t>
        <a:bodyPr/>
        <a:lstStyle/>
        <a:p>
          <a:r>
            <a:rPr lang="en-US" b="1" dirty="0"/>
            <a:t>X-confirmation</a:t>
          </a:r>
        </a:p>
      </dgm:t>
    </dgm:pt>
    <dgm:pt modelId="{D693665D-1E30-4E45-8191-F5B6A3F4DF1E}" type="parTrans" cxnId="{1F00DB48-0FCB-5847-A613-168E30AD5D52}">
      <dgm:prSet/>
      <dgm:spPr/>
      <dgm:t>
        <a:bodyPr/>
        <a:lstStyle/>
        <a:p>
          <a:endParaRPr lang="en-US" b="1"/>
        </a:p>
      </dgm:t>
    </dgm:pt>
    <dgm:pt modelId="{765EEAB1-1780-D844-ACD9-03EC80212351}" type="sibTrans" cxnId="{1F00DB48-0FCB-5847-A613-168E30AD5D52}">
      <dgm:prSet/>
      <dgm:spPr/>
      <dgm:t>
        <a:bodyPr/>
        <a:lstStyle/>
        <a:p>
          <a:endParaRPr lang="en-US" b="1"/>
        </a:p>
      </dgm:t>
    </dgm:pt>
    <dgm:pt modelId="{CD9F43A6-8F78-DE4D-81D1-D3D5306C0AA4}">
      <dgm:prSet phldrT="[Text]"/>
      <dgm:spPr/>
      <dgm:t>
        <a:bodyPr/>
        <a:lstStyle/>
        <a:p>
          <a:r>
            <a:rPr lang="en-US" b="1" dirty="0"/>
            <a:t>Security Deposit</a:t>
          </a:r>
        </a:p>
      </dgm:t>
    </dgm:pt>
    <dgm:pt modelId="{25AF418F-5566-C34D-9D1C-F75B9AAB8A1E}" type="parTrans" cxnId="{B6C94F95-56C7-5541-96EF-5D3833EC2A4D}">
      <dgm:prSet/>
      <dgm:spPr/>
      <dgm:t>
        <a:bodyPr/>
        <a:lstStyle/>
        <a:p>
          <a:endParaRPr lang="en-US" b="1"/>
        </a:p>
      </dgm:t>
    </dgm:pt>
    <dgm:pt modelId="{5FF41155-7CC2-554A-BBF3-93BD3CA9CC63}" type="sibTrans" cxnId="{B6C94F95-56C7-5541-96EF-5D3833EC2A4D}">
      <dgm:prSet/>
      <dgm:spPr/>
      <dgm:t>
        <a:bodyPr/>
        <a:lstStyle/>
        <a:p>
          <a:endParaRPr lang="en-US" b="1"/>
        </a:p>
      </dgm:t>
    </dgm:pt>
    <dgm:pt modelId="{83FDFBF5-3880-C34C-9F88-A7C7CC3A1EA2}">
      <dgm:prSet phldrT="[Text]" custT="1"/>
      <dgm:spPr/>
      <dgm:t>
        <a:bodyPr/>
        <a:lstStyle/>
        <a:p>
          <a:r>
            <a:rPr lang="en-US" sz="1100" b="1" dirty="0"/>
            <a:t>Contract Structural Patterns</a:t>
          </a:r>
        </a:p>
      </dgm:t>
    </dgm:pt>
    <dgm:pt modelId="{64C92EAF-A4BF-6240-8D33-6CF3A1E0E8EA}" type="parTrans" cxnId="{DBFDD6D2-463A-244E-921C-BC50EE2E21EB}">
      <dgm:prSet/>
      <dgm:spPr/>
      <dgm:t>
        <a:bodyPr/>
        <a:lstStyle/>
        <a:p>
          <a:endParaRPr lang="en-US" b="1"/>
        </a:p>
      </dgm:t>
    </dgm:pt>
    <dgm:pt modelId="{1A6786D2-A08D-E049-AFB2-E72E5DCEFF2F}" type="sibTrans" cxnId="{DBFDD6D2-463A-244E-921C-BC50EE2E21EB}">
      <dgm:prSet/>
      <dgm:spPr/>
      <dgm:t>
        <a:bodyPr/>
        <a:lstStyle/>
        <a:p>
          <a:endParaRPr lang="en-US" b="1"/>
        </a:p>
      </dgm:t>
    </dgm:pt>
    <dgm:pt modelId="{C064CADF-FE71-0043-B9BC-E5BAAFA28C01}">
      <dgm:prSet phldrT="[Text]"/>
      <dgm:spPr/>
      <dgm:t>
        <a:bodyPr/>
        <a:lstStyle/>
        <a:p>
          <a:r>
            <a:rPr lang="en-US" b="1" dirty="0"/>
            <a:t>Contract Registry</a:t>
          </a:r>
        </a:p>
      </dgm:t>
    </dgm:pt>
    <dgm:pt modelId="{8D01A9D7-1A6D-E144-B16A-654748C59E4C}" type="parTrans" cxnId="{79208053-7846-E842-AAEA-CC0A69602FC3}">
      <dgm:prSet/>
      <dgm:spPr/>
      <dgm:t>
        <a:bodyPr/>
        <a:lstStyle/>
        <a:p>
          <a:endParaRPr lang="en-US" b="1"/>
        </a:p>
      </dgm:t>
    </dgm:pt>
    <dgm:pt modelId="{24D9B3E1-21EF-B34D-9245-1F0C4390EE86}" type="sibTrans" cxnId="{79208053-7846-E842-AAEA-CC0A69602FC3}">
      <dgm:prSet/>
      <dgm:spPr/>
      <dgm:t>
        <a:bodyPr/>
        <a:lstStyle/>
        <a:p>
          <a:endParaRPr lang="en-US" b="1"/>
        </a:p>
      </dgm:t>
    </dgm:pt>
    <dgm:pt modelId="{E048C408-DFFD-2A4B-AD60-BFF6809DC491}">
      <dgm:prSet phldrT="[Text]"/>
      <dgm:spPr/>
      <dgm:t>
        <a:bodyPr/>
        <a:lstStyle/>
        <a:p>
          <a:r>
            <a:rPr lang="en-US" b="1" dirty="0"/>
            <a:t>Embedded Permission</a:t>
          </a:r>
        </a:p>
      </dgm:t>
    </dgm:pt>
    <dgm:pt modelId="{CFA64A71-BA9D-FE4B-894D-C3B37A8B6732}" type="parTrans" cxnId="{3A7D9C13-BA99-1341-9604-4229A9B67365}">
      <dgm:prSet/>
      <dgm:spPr/>
      <dgm:t>
        <a:bodyPr/>
        <a:lstStyle/>
        <a:p>
          <a:endParaRPr lang="en-US" b="1"/>
        </a:p>
      </dgm:t>
    </dgm:pt>
    <dgm:pt modelId="{F7F02BF2-BF8D-0A4E-A604-49385B5ECEA1}" type="sibTrans" cxnId="{3A7D9C13-BA99-1341-9604-4229A9B67365}">
      <dgm:prSet/>
      <dgm:spPr/>
      <dgm:t>
        <a:bodyPr/>
        <a:lstStyle/>
        <a:p>
          <a:endParaRPr lang="en-US" b="1"/>
        </a:p>
      </dgm:t>
    </dgm:pt>
    <dgm:pt modelId="{800EA581-401F-E443-AF44-372A0410D0D3}">
      <dgm:prSet phldrT="[Text]"/>
      <dgm:spPr/>
      <dgm:t>
        <a:bodyPr/>
        <a:lstStyle/>
        <a:p>
          <a:r>
            <a:rPr lang="en-US" b="1" dirty="0"/>
            <a:t>Data Contract</a:t>
          </a:r>
        </a:p>
      </dgm:t>
    </dgm:pt>
    <dgm:pt modelId="{3A825C8F-5C22-DC4C-9096-7603543CCA2E}" type="parTrans" cxnId="{DE60B85A-F816-F548-8517-AEBBF49030C1}">
      <dgm:prSet/>
      <dgm:spPr/>
      <dgm:t>
        <a:bodyPr/>
        <a:lstStyle/>
        <a:p>
          <a:endParaRPr lang="en-US" b="1"/>
        </a:p>
      </dgm:t>
    </dgm:pt>
    <dgm:pt modelId="{65ADC1C0-435E-EB48-80C5-F08981257D68}" type="sibTrans" cxnId="{DE60B85A-F816-F548-8517-AEBBF49030C1}">
      <dgm:prSet/>
      <dgm:spPr/>
      <dgm:t>
        <a:bodyPr/>
        <a:lstStyle/>
        <a:p>
          <a:endParaRPr lang="en-US" b="1"/>
        </a:p>
      </dgm:t>
    </dgm:pt>
    <dgm:pt modelId="{C7CD03D8-0BB1-624B-B92E-3CA5BA861352}">
      <dgm:prSet phldrT="[Text]"/>
      <dgm:spPr/>
      <dgm:t>
        <a:bodyPr/>
        <a:lstStyle/>
        <a:p>
          <a:r>
            <a:rPr lang="en-US" b="1" dirty="0"/>
            <a:t>Factory Contract</a:t>
          </a:r>
        </a:p>
      </dgm:t>
    </dgm:pt>
    <dgm:pt modelId="{09FD0A1D-78DE-F64D-BE33-9B33758A8E1E}" type="parTrans" cxnId="{9FA96202-515E-3C49-91C4-665194E6AA8D}">
      <dgm:prSet/>
      <dgm:spPr/>
      <dgm:t>
        <a:bodyPr/>
        <a:lstStyle/>
        <a:p>
          <a:endParaRPr lang="en-US" b="1"/>
        </a:p>
      </dgm:t>
    </dgm:pt>
    <dgm:pt modelId="{9CC5CB52-E772-2B46-B434-7D27450ECF4A}" type="sibTrans" cxnId="{9FA96202-515E-3C49-91C4-665194E6AA8D}">
      <dgm:prSet/>
      <dgm:spPr/>
      <dgm:t>
        <a:bodyPr/>
        <a:lstStyle/>
        <a:p>
          <a:endParaRPr lang="en-US" b="1"/>
        </a:p>
      </dgm:t>
    </dgm:pt>
    <dgm:pt modelId="{AECD768C-62D5-FB40-9404-3DEB1DC0CCFC}">
      <dgm:prSet phldrT="[Text]"/>
      <dgm:spPr/>
      <dgm:t>
        <a:bodyPr/>
        <a:lstStyle/>
        <a:p>
          <a:r>
            <a:rPr lang="en-US" b="1" dirty="0"/>
            <a:t>Incentive Execution</a:t>
          </a:r>
        </a:p>
      </dgm:t>
    </dgm:pt>
    <dgm:pt modelId="{C17C17C7-3F20-054E-AB0E-50F06C686A2A}" type="parTrans" cxnId="{09E42F05-D932-BF4E-80E0-4EFDC24A69A1}">
      <dgm:prSet/>
      <dgm:spPr/>
      <dgm:t>
        <a:bodyPr/>
        <a:lstStyle/>
        <a:p>
          <a:endParaRPr lang="en-US" b="1"/>
        </a:p>
      </dgm:t>
    </dgm:pt>
    <dgm:pt modelId="{50838162-1AD2-C64B-8356-F56C7ECEFED2}" type="sibTrans" cxnId="{09E42F05-D932-BF4E-80E0-4EFDC24A69A1}">
      <dgm:prSet/>
      <dgm:spPr/>
      <dgm:t>
        <a:bodyPr/>
        <a:lstStyle/>
        <a:p>
          <a:endParaRPr lang="en-US" b="1"/>
        </a:p>
      </dgm:t>
    </dgm:pt>
    <dgm:pt modelId="{AE805E67-4EA8-E44E-977C-CE7A6905D586}">
      <dgm:prSet phldrT="[Text]" custT="1"/>
      <dgm:spPr/>
      <dgm:t>
        <a:bodyPr/>
        <a:lstStyle/>
        <a:p>
          <a:r>
            <a:rPr lang="en-US" sz="1100" b="1" dirty="0"/>
            <a:t>Deployment</a:t>
          </a:r>
        </a:p>
      </dgm:t>
    </dgm:pt>
    <dgm:pt modelId="{F62ACB79-F0B7-564F-A02E-275C0C646988}" type="parTrans" cxnId="{F0593E88-DE20-114A-A748-1E4C4F5E9767}">
      <dgm:prSet/>
      <dgm:spPr/>
      <dgm:t>
        <a:bodyPr/>
        <a:lstStyle/>
        <a:p>
          <a:endParaRPr lang="en-US" b="1"/>
        </a:p>
      </dgm:t>
    </dgm:pt>
    <dgm:pt modelId="{20A19F98-901A-124B-B679-5A49740AA061}" type="sibTrans" cxnId="{F0593E88-DE20-114A-A748-1E4C4F5E9767}">
      <dgm:prSet/>
      <dgm:spPr/>
      <dgm:t>
        <a:bodyPr/>
        <a:lstStyle/>
        <a:p>
          <a:endParaRPr lang="en-US" b="1"/>
        </a:p>
      </dgm:t>
    </dgm:pt>
    <dgm:pt modelId="{1E59CAD3-9F6E-FD4F-BAF7-EF4CC902E143}">
      <dgm:prSet phldrT="[Text]"/>
      <dgm:spPr/>
      <dgm:t>
        <a:bodyPr/>
        <a:lstStyle/>
        <a:p>
          <a:r>
            <a:rPr lang="en-US" b="1" dirty="0"/>
            <a:t>Semi-DApp</a:t>
          </a:r>
        </a:p>
      </dgm:t>
    </dgm:pt>
    <dgm:pt modelId="{980B70E5-30DC-1C47-A775-4EFAE7B3F939}" type="parTrans" cxnId="{43A62CFB-DBB4-D84F-A6CA-4777F4553E76}">
      <dgm:prSet/>
      <dgm:spPr/>
      <dgm:t>
        <a:bodyPr/>
        <a:lstStyle/>
        <a:p>
          <a:endParaRPr lang="en-US" b="1"/>
        </a:p>
      </dgm:t>
    </dgm:pt>
    <dgm:pt modelId="{DBDD853A-F9F1-8F4C-928D-3D6FA5A0F10C}" type="sibTrans" cxnId="{43A62CFB-DBB4-D84F-A6CA-4777F4553E76}">
      <dgm:prSet/>
      <dgm:spPr/>
      <dgm:t>
        <a:bodyPr/>
        <a:lstStyle/>
        <a:p>
          <a:endParaRPr lang="en-US" b="1"/>
        </a:p>
      </dgm:t>
    </dgm:pt>
    <dgm:pt modelId="{C2697DC4-583D-BB44-81DC-86E313B73653}">
      <dgm:prSet phldrT="[Text]"/>
      <dgm:spPr/>
      <dgm:t>
        <a:bodyPr/>
        <a:lstStyle/>
        <a:p>
          <a:r>
            <a:rPr lang="en-US" b="1" dirty="0"/>
            <a:t>DApp</a:t>
          </a:r>
        </a:p>
      </dgm:t>
    </dgm:pt>
    <dgm:pt modelId="{2891CC72-C4C8-4E42-8F5E-A6C8C6D002B0}" type="parTrans" cxnId="{DCCAE682-29A8-0849-9091-0A0A80156B79}">
      <dgm:prSet/>
      <dgm:spPr/>
      <dgm:t>
        <a:bodyPr/>
        <a:lstStyle/>
        <a:p>
          <a:endParaRPr lang="en-US" b="1"/>
        </a:p>
      </dgm:t>
    </dgm:pt>
    <dgm:pt modelId="{5EAE4E19-5AB0-564F-8904-3BC7AAA9AD5C}" type="sibTrans" cxnId="{DCCAE682-29A8-0849-9091-0A0A80156B79}">
      <dgm:prSet/>
      <dgm:spPr/>
      <dgm:t>
        <a:bodyPr/>
        <a:lstStyle/>
        <a:p>
          <a:endParaRPr lang="en-US" b="1"/>
        </a:p>
      </dgm:t>
    </dgm:pt>
    <dgm:pt modelId="{5C410414-BDEA-A640-9DBE-2BE4F41CC57A}">
      <dgm:prSet phldrT="[Text]"/>
      <dgm:spPr/>
      <dgm:t>
        <a:bodyPr/>
        <a:lstStyle/>
        <a:p>
          <a:r>
            <a:rPr lang="en-US" b="1" dirty="0"/>
            <a:t>Legal and Smart Contract Pair</a:t>
          </a:r>
        </a:p>
      </dgm:t>
    </dgm:pt>
    <dgm:pt modelId="{A1220BA8-1B0D-E947-ACEC-A4409A4A2808}" type="parTrans" cxnId="{9AC4EEE6-314F-4345-8177-4E31B3AF23D6}">
      <dgm:prSet/>
      <dgm:spPr/>
      <dgm:t>
        <a:bodyPr/>
        <a:lstStyle/>
        <a:p>
          <a:endParaRPr lang="en-US"/>
        </a:p>
      </dgm:t>
    </dgm:pt>
    <dgm:pt modelId="{73A0378E-2B63-B546-A1F3-E2DC0D0C8CC6}" type="sibTrans" cxnId="{9AC4EEE6-314F-4345-8177-4E31B3AF23D6}">
      <dgm:prSet/>
      <dgm:spPr/>
      <dgm:t>
        <a:bodyPr/>
        <a:lstStyle/>
        <a:p>
          <a:endParaRPr lang="en-US"/>
        </a:p>
      </dgm:t>
    </dgm:pt>
    <dgm:pt modelId="{9C8C6F10-0861-024F-B313-D860E27B22FC}">
      <dgm:prSet phldrT="[Text]"/>
      <dgm:spPr/>
      <dgm:t>
        <a:bodyPr/>
        <a:lstStyle/>
        <a:p>
          <a:r>
            <a:rPr lang="en-US" b="1" dirty="0"/>
            <a:t>Reverse Oracle</a:t>
          </a:r>
        </a:p>
      </dgm:t>
    </dgm:pt>
    <dgm:pt modelId="{A5B2F138-9715-E242-8CC8-A027957736BF}" type="sibTrans" cxnId="{1D7A922F-C6D5-7645-9B9F-21AF5EB2B4BD}">
      <dgm:prSet/>
      <dgm:spPr/>
      <dgm:t>
        <a:bodyPr/>
        <a:lstStyle/>
        <a:p>
          <a:endParaRPr lang="en-US" b="1"/>
        </a:p>
      </dgm:t>
    </dgm:pt>
    <dgm:pt modelId="{F59CACE4-682F-7A4D-92F2-3B1FBBF01AE8}" type="parTrans" cxnId="{1D7A922F-C6D5-7645-9B9F-21AF5EB2B4BD}">
      <dgm:prSet/>
      <dgm:spPr/>
      <dgm:t>
        <a:bodyPr/>
        <a:lstStyle/>
        <a:p>
          <a:endParaRPr lang="en-US" b="1"/>
        </a:p>
      </dgm:t>
    </dgm:pt>
    <dgm:pt modelId="{1A43F41A-952A-8D4A-96DD-5994AED170B7}">
      <dgm:prSet phldrT="[Text]"/>
      <dgm:spPr/>
      <dgm:t>
        <a:bodyPr/>
        <a:lstStyle/>
        <a:p>
          <a:r>
            <a:rPr lang="en-US" b="1" dirty="0"/>
            <a:t>Off-chain Data Storage</a:t>
          </a:r>
        </a:p>
      </dgm:t>
    </dgm:pt>
    <dgm:pt modelId="{CA5D1486-C56C-594C-905E-13012BA57F9F}" type="parTrans" cxnId="{17B64441-6710-BD4B-8BCA-12D6D8C2AD54}">
      <dgm:prSet/>
      <dgm:spPr/>
      <dgm:t>
        <a:bodyPr/>
        <a:lstStyle/>
        <a:p>
          <a:endParaRPr lang="en-US"/>
        </a:p>
      </dgm:t>
    </dgm:pt>
    <dgm:pt modelId="{DB309734-0602-A845-82B0-D06B8580D2C4}" type="sibTrans" cxnId="{17B64441-6710-BD4B-8BCA-12D6D8C2AD54}">
      <dgm:prSet/>
      <dgm:spPr/>
      <dgm:t>
        <a:bodyPr/>
        <a:lstStyle/>
        <a:p>
          <a:endParaRPr lang="en-US"/>
        </a:p>
      </dgm:t>
    </dgm:pt>
    <dgm:pt modelId="{0CD26FE5-FCFA-4E44-BF9A-A90E33BD5F9A}">
      <dgm:prSet phldrT="[Text]"/>
      <dgm:spPr/>
      <dgm:t>
        <a:bodyPr/>
        <a:lstStyle/>
        <a:p>
          <a:r>
            <a:rPr lang="en-US" b="1" dirty="0"/>
            <a:t>State Channel</a:t>
          </a:r>
        </a:p>
      </dgm:t>
    </dgm:pt>
    <dgm:pt modelId="{299921CB-0981-C243-BCFB-6CDAF30964CE}" type="parTrans" cxnId="{AD9328ED-D8F1-7442-BACD-CAD6807A04BD}">
      <dgm:prSet/>
      <dgm:spPr/>
      <dgm:t>
        <a:bodyPr/>
        <a:lstStyle/>
        <a:p>
          <a:endParaRPr lang="en-US"/>
        </a:p>
      </dgm:t>
    </dgm:pt>
    <dgm:pt modelId="{70716163-2DCF-E44A-B350-F696C702CFC1}" type="sibTrans" cxnId="{AD9328ED-D8F1-7442-BACD-CAD6807A04BD}">
      <dgm:prSet/>
      <dgm:spPr/>
      <dgm:t>
        <a:bodyPr/>
        <a:lstStyle/>
        <a:p>
          <a:endParaRPr lang="en-US"/>
        </a:p>
      </dgm:t>
    </dgm:pt>
    <dgm:pt modelId="{D2DC4467-C2C2-8A4E-960B-CB89039407FD}">
      <dgm:prSet phldrT="[Text]"/>
      <dgm:spPr/>
      <dgm:t>
        <a:bodyPr/>
        <a:lstStyle/>
        <a:p>
          <a:r>
            <a:rPr lang="en-US" b="1" dirty="0"/>
            <a:t>Dynamic Authorization</a:t>
          </a:r>
        </a:p>
      </dgm:t>
    </dgm:pt>
    <dgm:pt modelId="{401C2EE8-FE3D-0245-95E9-232E1246F33E}" type="parTrans" cxnId="{40105A16-B8B1-AD44-99B7-8191C901FA57}">
      <dgm:prSet/>
      <dgm:spPr/>
      <dgm:t>
        <a:bodyPr/>
        <a:lstStyle/>
        <a:p>
          <a:endParaRPr lang="en-US"/>
        </a:p>
      </dgm:t>
    </dgm:pt>
    <dgm:pt modelId="{0BE55F7B-756E-6142-BD65-272D8B129CD6}" type="sibTrans" cxnId="{40105A16-B8B1-AD44-99B7-8191C901FA57}">
      <dgm:prSet/>
      <dgm:spPr/>
      <dgm:t>
        <a:bodyPr/>
        <a:lstStyle/>
        <a:p>
          <a:endParaRPr lang="en-US"/>
        </a:p>
      </dgm:t>
    </dgm:pt>
    <dgm:pt modelId="{16F309D4-BE1B-8D44-A2FF-C8BCEAD0DD2A}" type="pres">
      <dgm:prSet presAssocID="{6D9B0BE5-F451-AE44-9B29-AE62DFDE9BAD}" presName="diagram" presStyleCnt="0">
        <dgm:presLayoutVars>
          <dgm:chPref val="1"/>
          <dgm:dir/>
          <dgm:animOne val="branch"/>
          <dgm:animLvl val="lvl"/>
          <dgm:resizeHandles/>
        </dgm:presLayoutVars>
      </dgm:prSet>
      <dgm:spPr/>
    </dgm:pt>
    <dgm:pt modelId="{3DDC912D-8E1C-FC40-8BE1-FC7633F2A656}" type="pres">
      <dgm:prSet presAssocID="{A93A9E4C-E7D0-FD43-9FB4-8DBFA8D52D70}" presName="root" presStyleCnt="0"/>
      <dgm:spPr/>
    </dgm:pt>
    <dgm:pt modelId="{D2840C6D-7CF9-004A-B564-C355E09D9DF8}" type="pres">
      <dgm:prSet presAssocID="{A93A9E4C-E7D0-FD43-9FB4-8DBFA8D52D70}" presName="rootComposite" presStyleCnt="0"/>
      <dgm:spPr/>
    </dgm:pt>
    <dgm:pt modelId="{4D8ABC0C-6D7F-824A-921B-618D8A3A8EB1}" type="pres">
      <dgm:prSet presAssocID="{A93A9E4C-E7D0-FD43-9FB4-8DBFA8D52D70}" presName="rootText" presStyleLbl="node1" presStyleIdx="0" presStyleCnt="5"/>
      <dgm:spPr/>
    </dgm:pt>
    <dgm:pt modelId="{2909E014-6738-864A-AF59-65F10CC999ED}" type="pres">
      <dgm:prSet presAssocID="{A93A9E4C-E7D0-FD43-9FB4-8DBFA8D52D70}" presName="rootConnector" presStyleLbl="node1" presStyleIdx="0" presStyleCnt="5"/>
      <dgm:spPr/>
    </dgm:pt>
    <dgm:pt modelId="{12C4B6BF-E8D8-AE43-A701-F7E2A777D60C}" type="pres">
      <dgm:prSet presAssocID="{A93A9E4C-E7D0-FD43-9FB4-8DBFA8D52D70}" presName="childShape" presStyleCnt="0"/>
      <dgm:spPr/>
    </dgm:pt>
    <dgm:pt modelId="{3F514349-0FED-5C41-B786-EE797FD6A6ED}" type="pres">
      <dgm:prSet presAssocID="{FC20E98D-423C-7D44-9229-F20C9684638E}" presName="Name13" presStyleLbl="parChTrans1D2" presStyleIdx="0" presStyleCnt="20"/>
      <dgm:spPr/>
    </dgm:pt>
    <dgm:pt modelId="{0D6F72C5-DE37-E941-AD44-5970467C2A96}" type="pres">
      <dgm:prSet presAssocID="{42BF2C42-76AF-0C47-87F9-E812DD474A24}" presName="childText" presStyleLbl="bgAcc1" presStyleIdx="0" presStyleCnt="20">
        <dgm:presLayoutVars>
          <dgm:bulletEnabled val="1"/>
        </dgm:presLayoutVars>
      </dgm:prSet>
      <dgm:spPr/>
    </dgm:pt>
    <dgm:pt modelId="{D5ADA3D3-42F7-7E46-8A26-E9B8F121314A}" type="pres">
      <dgm:prSet presAssocID="{EE0E0967-FB18-3843-A445-F9E668C5B807}" presName="Name13" presStyleLbl="parChTrans1D2" presStyleIdx="1" presStyleCnt="20"/>
      <dgm:spPr/>
    </dgm:pt>
    <dgm:pt modelId="{5829D355-4F9B-754E-8384-23AF734D3DC1}" type="pres">
      <dgm:prSet presAssocID="{93922F64-2A70-7F4F-A483-8B65EADE1C56}" presName="childText" presStyleLbl="bgAcc1" presStyleIdx="1" presStyleCnt="20">
        <dgm:presLayoutVars>
          <dgm:bulletEnabled val="1"/>
        </dgm:presLayoutVars>
      </dgm:prSet>
      <dgm:spPr/>
    </dgm:pt>
    <dgm:pt modelId="{0D5AF32C-FEAC-B940-AEF9-113FD4C540C5}" type="pres">
      <dgm:prSet presAssocID="{6AFE073A-80E7-F748-9A7F-B9B70E9AE933}" presName="Name13" presStyleLbl="parChTrans1D2" presStyleIdx="2" presStyleCnt="20"/>
      <dgm:spPr/>
    </dgm:pt>
    <dgm:pt modelId="{710A9C0B-B81D-0947-8B02-F4620CE15477}" type="pres">
      <dgm:prSet presAssocID="{5795DD57-74CB-CB48-8D1D-45DA4D8935E8}" presName="childText" presStyleLbl="bgAcc1" presStyleIdx="2" presStyleCnt="20">
        <dgm:presLayoutVars>
          <dgm:bulletEnabled val="1"/>
        </dgm:presLayoutVars>
      </dgm:prSet>
      <dgm:spPr/>
    </dgm:pt>
    <dgm:pt modelId="{59399A21-1752-9641-909F-1DF60D99EC93}" type="pres">
      <dgm:prSet presAssocID="{A1220BA8-1B0D-E947-ACEC-A4409A4A2808}" presName="Name13" presStyleLbl="parChTrans1D2" presStyleIdx="3" presStyleCnt="20"/>
      <dgm:spPr/>
    </dgm:pt>
    <dgm:pt modelId="{169F2B92-7101-9A4A-83D1-C2CF5AF28505}" type="pres">
      <dgm:prSet presAssocID="{5C410414-BDEA-A640-9DBE-2BE4F41CC57A}" presName="childText" presStyleLbl="bgAcc1" presStyleIdx="3" presStyleCnt="20">
        <dgm:presLayoutVars>
          <dgm:bulletEnabled val="1"/>
        </dgm:presLayoutVars>
      </dgm:prSet>
      <dgm:spPr/>
    </dgm:pt>
    <dgm:pt modelId="{C1B131E3-501B-D54B-87C3-86BF06BB35E8}" type="pres">
      <dgm:prSet presAssocID="{F59CACE4-682F-7A4D-92F2-3B1FBBF01AE8}" presName="Name13" presStyleLbl="parChTrans1D2" presStyleIdx="4" presStyleCnt="20"/>
      <dgm:spPr/>
    </dgm:pt>
    <dgm:pt modelId="{4A6CB5A3-1BA1-7E4B-8C56-627C34B6ECD3}" type="pres">
      <dgm:prSet presAssocID="{9C8C6F10-0861-024F-B313-D860E27B22FC}" presName="childText" presStyleLbl="bgAcc1" presStyleIdx="4" presStyleCnt="20">
        <dgm:presLayoutVars>
          <dgm:bulletEnabled val="1"/>
        </dgm:presLayoutVars>
      </dgm:prSet>
      <dgm:spPr/>
    </dgm:pt>
    <dgm:pt modelId="{A96934A9-523B-374E-8C2C-7909AAC40CA6}" type="pres">
      <dgm:prSet presAssocID="{E45252E5-FABB-8C40-806C-3AFF4E75FCE9}" presName="root" presStyleCnt="0"/>
      <dgm:spPr/>
    </dgm:pt>
    <dgm:pt modelId="{F25E26AF-11C2-7749-8719-C27F23C8B04A}" type="pres">
      <dgm:prSet presAssocID="{E45252E5-FABB-8C40-806C-3AFF4E75FCE9}" presName="rootComposite" presStyleCnt="0"/>
      <dgm:spPr/>
    </dgm:pt>
    <dgm:pt modelId="{587C74AE-3394-DC49-8CB1-76A0BCD058A4}" type="pres">
      <dgm:prSet presAssocID="{E45252E5-FABB-8C40-806C-3AFF4E75FCE9}" presName="rootText" presStyleLbl="node1" presStyleIdx="1" presStyleCnt="5"/>
      <dgm:spPr/>
    </dgm:pt>
    <dgm:pt modelId="{242389FB-B41A-B840-98D8-A9B4FB6A89AF}" type="pres">
      <dgm:prSet presAssocID="{E45252E5-FABB-8C40-806C-3AFF4E75FCE9}" presName="rootConnector" presStyleLbl="node1" presStyleIdx="1" presStyleCnt="5"/>
      <dgm:spPr/>
    </dgm:pt>
    <dgm:pt modelId="{DEA32703-74CA-6747-A77B-3BB9BDFE1AED}" type="pres">
      <dgm:prSet presAssocID="{E45252E5-FABB-8C40-806C-3AFF4E75FCE9}" presName="childShape" presStyleCnt="0"/>
      <dgm:spPr/>
    </dgm:pt>
    <dgm:pt modelId="{BA439008-8DC7-6F4F-BB51-CC1D048D6E8D}" type="pres">
      <dgm:prSet presAssocID="{CA5D1486-C56C-594C-905E-13012BA57F9F}" presName="Name13" presStyleLbl="parChTrans1D2" presStyleIdx="5" presStyleCnt="20"/>
      <dgm:spPr/>
    </dgm:pt>
    <dgm:pt modelId="{EC7CC600-EAD4-7449-B71C-71141DC3A933}" type="pres">
      <dgm:prSet presAssocID="{1A43F41A-952A-8D4A-96DD-5994AED170B7}" presName="childText" presStyleLbl="bgAcc1" presStyleIdx="5" presStyleCnt="20">
        <dgm:presLayoutVars>
          <dgm:bulletEnabled val="1"/>
        </dgm:presLayoutVars>
      </dgm:prSet>
      <dgm:spPr/>
    </dgm:pt>
    <dgm:pt modelId="{E10A6EA2-0E21-A04F-8004-BFC9A0538066}" type="pres">
      <dgm:prSet presAssocID="{299921CB-0981-C243-BCFB-6CDAF30964CE}" presName="Name13" presStyleLbl="parChTrans1D2" presStyleIdx="6" presStyleCnt="20"/>
      <dgm:spPr/>
    </dgm:pt>
    <dgm:pt modelId="{0802B708-C3AC-C64A-B8CF-25D102BF4DB4}" type="pres">
      <dgm:prSet presAssocID="{0CD26FE5-FCFA-4E44-BF9A-A90E33BD5F9A}" presName="childText" presStyleLbl="bgAcc1" presStyleIdx="6" presStyleCnt="20">
        <dgm:presLayoutVars>
          <dgm:bulletEnabled val="1"/>
        </dgm:presLayoutVars>
      </dgm:prSet>
      <dgm:spPr/>
    </dgm:pt>
    <dgm:pt modelId="{BF408421-FF0A-F54E-B93E-57AA7AC549C4}" type="pres">
      <dgm:prSet presAssocID="{B91791F1-5F93-AB4C-84CF-846BC1547244}" presName="Name13" presStyleLbl="parChTrans1D2" presStyleIdx="7" presStyleCnt="20"/>
      <dgm:spPr/>
    </dgm:pt>
    <dgm:pt modelId="{0F6014B9-FF15-0546-AA04-F591028B596A}" type="pres">
      <dgm:prSet presAssocID="{206D0424-0AA5-1944-8E06-3FA46661E66D}" presName="childText" presStyleLbl="bgAcc1" presStyleIdx="7" presStyleCnt="20">
        <dgm:presLayoutVars>
          <dgm:bulletEnabled val="1"/>
        </dgm:presLayoutVars>
      </dgm:prSet>
      <dgm:spPr/>
    </dgm:pt>
    <dgm:pt modelId="{BEB443A0-BDD9-EC4C-9347-4016B3AFF79C}" type="pres">
      <dgm:prSet presAssocID="{08E4D433-C82D-6B4D-8DB3-EA333B4E418F}" presName="Name13" presStyleLbl="parChTrans1D2" presStyleIdx="8" presStyleCnt="20"/>
      <dgm:spPr/>
    </dgm:pt>
    <dgm:pt modelId="{BEF1671F-3DF5-494B-AE25-2434EBDA1A68}" type="pres">
      <dgm:prSet presAssocID="{3A8FFC6B-BF3F-0D49-A951-6E7772E893A0}" presName="childText" presStyleLbl="bgAcc1" presStyleIdx="8" presStyleCnt="20">
        <dgm:presLayoutVars>
          <dgm:bulletEnabled val="1"/>
        </dgm:presLayoutVars>
      </dgm:prSet>
      <dgm:spPr/>
    </dgm:pt>
    <dgm:pt modelId="{CB370BBE-A024-9A49-910B-F9983E11F7A8}" type="pres">
      <dgm:prSet presAssocID="{14DA0B7A-897A-7C41-9759-93C7D9C8F0EA}" presName="root" presStyleCnt="0"/>
      <dgm:spPr/>
    </dgm:pt>
    <dgm:pt modelId="{7B728FFD-E6EB-4248-AF75-26D3B09973CC}" type="pres">
      <dgm:prSet presAssocID="{14DA0B7A-897A-7C41-9759-93C7D9C8F0EA}" presName="rootComposite" presStyleCnt="0"/>
      <dgm:spPr/>
    </dgm:pt>
    <dgm:pt modelId="{7634BA55-D044-B248-8F77-5614E76D7120}" type="pres">
      <dgm:prSet presAssocID="{14DA0B7A-897A-7C41-9759-93C7D9C8F0EA}" presName="rootText" presStyleLbl="node1" presStyleIdx="2" presStyleCnt="5"/>
      <dgm:spPr/>
    </dgm:pt>
    <dgm:pt modelId="{2D2AA0B9-FFE1-3F4D-A350-15F910F3BD22}" type="pres">
      <dgm:prSet presAssocID="{14DA0B7A-897A-7C41-9759-93C7D9C8F0EA}" presName="rootConnector" presStyleLbl="node1" presStyleIdx="2" presStyleCnt="5"/>
      <dgm:spPr/>
    </dgm:pt>
    <dgm:pt modelId="{41D64697-6E39-5C4A-A402-EFBD9B357B22}" type="pres">
      <dgm:prSet presAssocID="{14DA0B7A-897A-7C41-9759-93C7D9C8F0EA}" presName="childShape" presStyleCnt="0"/>
      <dgm:spPr/>
    </dgm:pt>
    <dgm:pt modelId="{1AE04E00-72C6-3B42-81CF-52ED553CDC38}" type="pres">
      <dgm:prSet presAssocID="{401C2EE8-FE3D-0245-95E9-232E1246F33E}" presName="Name13" presStyleLbl="parChTrans1D2" presStyleIdx="9" presStyleCnt="20"/>
      <dgm:spPr/>
    </dgm:pt>
    <dgm:pt modelId="{357FEADB-5D8F-E343-88F9-3F0C634B3357}" type="pres">
      <dgm:prSet presAssocID="{D2DC4467-C2C2-8A4E-960B-CB89039407FD}" presName="childText" presStyleLbl="bgAcc1" presStyleIdx="9" presStyleCnt="20">
        <dgm:presLayoutVars>
          <dgm:bulletEnabled val="1"/>
        </dgm:presLayoutVars>
      </dgm:prSet>
      <dgm:spPr/>
    </dgm:pt>
    <dgm:pt modelId="{616DEDF7-72CD-4B41-826B-4210486F480B}" type="pres">
      <dgm:prSet presAssocID="{6DC3CD95-3A31-3D40-AA3D-5BB5D36AE273}" presName="Name13" presStyleLbl="parChTrans1D2" presStyleIdx="10" presStyleCnt="20"/>
      <dgm:spPr/>
    </dgm:pt>
    <dgm:pt modelId="{CE2BE487-796D-8A42-81EB-73B1FF7FA130}" type="pres">
      <dgm:prSet presAssocID="{9C97E3CD-9DB7-8547-A1AF-3A54690762ED}" presName="childText" presStyleLbl="bgAcc1" presStyleIdx="10" presStyleCnt="20">
        <dgm:presLayoutVars>
          <dgm:bulletEnabled val="1"/>
        </dgm:presLayoutVars>
      </dgm:prSet>
      <dgm:spPr/>
    </dgm:pt>
    <dgm:pt modelId="{161E2220-9CCC-FC4A-8FB2-63C6E682F6DF}" type="pres">
      <dgm:prSet presAssocID="{D693665D-1E30-4E45-8191-F5B6A3F4DF1E}" presName="Name13" presStyleLbl="parChTrans1D2" presStyleIdx="11" presStyleCnt="20"/>
      <dgm:spPr/>
    </dgm:pt>
    <dgm:pt modelId="{4E24FB6B-4ED1-9B47-AF93-F82344D22B18}" type="pres">
      <dgm:prSet presAssocID="{4BB958FD-9F3E-B344-BCB4-42AC09735FE8}" presName="childText" presStyleLbl="bgAcc1" presStyleIdx="11" presStyleCnt="20">
        <dgm:presLayoutVars>
          <dgm:bulletEnabled val="1"/>
        </dgm:presLayoutVars>
      </dgm:prSet>
      <dgm:spPr/>
    </dgm:pt>
    <dgm:pt modelId="{62372CAD-8CEA-5249-B725-06E12ECDABED}" type="pres">
      <dgm:prSet presAssocID="{25AF418F-5566-C34D-9D1C-F75B9AAB8A1E}" presName="Name13" presStyleLbl="parChTrans1D2" presStyleIdx="12" presStyleCnt="20"/>
      <dgm:spPr/>
    </dgm:pt>
    <dgm:pt modelId="{B14971FA-8479-2647-910A-061B76333F31}" type="pres">
      <dgm:prSet presAssocID="{CD9F43A6-8F78-DE4D-81D1-D3D5306C0AA4}" presName="childText" presStyleLbl="bgAcc1" presStyleIdx="12" presStyleCnt="20">
        <dgm:presLayoutVars>
          <dgm:bulletEnabled val="1"/>
        </dgm:presLayoutVars>
      </dgm:prSet>
      <dgm:spPr/>
    </dgm:pt>
    <dgm:pt modelId="{0B92FC74-4071-764A-A2F7-8B7BC1055406}" type="pres">
      <dgm:prSet presAssocID="{83FDFBF5-3880-C34C-9F88-A7C7CC3A1EA2}" presName="root" presStyleCnt="0"/>
      <dgm:spPr/>
    </dgm:pt>
    <dgm:pt modelId="{7BE5EE51-5566-A34B-BEC5-6D9956914C98}" type="pres">
      <dgm:prSet presAssocID="{83FDFBF5-3880-C34C-9F88-A7C7CC3A1EA2}" presName="rootComposite" presStyleCnt="0"/>
      <dgm:spPr/>
    </dgm:pt>
    <dgm:pt modelId="{2FA8F23F-35CD-C54A-8783-629A03772AEC}" type="pres">
      <dgm:prSet presAssocID="{83FDFBF5-3880-C34C-9F88-A7C7CC3A1EA2}" presName="rootText" presStyleLbl="node1" presStyleIdx="3" presStyleCnt="5"/>
      <dgm:spPr/>
    </dgm:pt>
    <dgm:pt modelId="{40C13E8D-350F-9F47-8B40-A10BE8257C70}" type="pres">
      <dgm:prSet presAssocID="{83FDFBF5-3880-C34C-9F88-A7C7CC3A1EA2}" presName="rootConnector" presStyleLbl="node1" presStyleIdx="3" presStyleCnt="5"/>
      <dgm:spPr/>
    </dgm:pt>
    <dgm:pt modelId="{4DCBCE0A-FB7A-D648-968B-63FF67ACDB8C}" type="pres">
      <dgm:prSet presAssocID="{83FDFBF5-3880-C34C-9F88-A7C7CC3A1EA2}" presName="childShape" presStyleCnt="0"/>
      <dgm:spPr/>
    </dgm:pt>
    <dgm:pt modelId="{9E84B493-25F5-DF4D-8ECA-FEBA7BDB38A6}" type="pres">
      <dgm:prSet presAssocID="{8D01A9D7-1A6D-E144-B16A-654748C59E4C}" presName="Name13" presStyleLbl="parChTrans1D2" presStyleIdx="13" presStyleCnt="20"/>
      <dgm:spPr/>
    </dgm:pt>
    <dgm:pt modelId="{6383FD56-CDCD-2945-B041-9B16034E0889}" type="pres">
      <dgm:prSet presAssocID="{C064CADF-FE71-0043-B9BC-E5BAAFA28C01}" presName="childText" presStyleLbl="bgAcc1" presStyleIdx="13" presStyleCnt="20">
        <dgm:presLayoutVars>
          <dgm:bulletEnabled val="1"/>
        </dgm:presLayoutVars>
      </dgm:prSet>
      <dgm:spPr/>
    </dgm:pt>
    <dgm:pt modelId="{3FB2E1DB-7F77-A940-A44D-A2EBF02F6AA8}" type="pres">
      <dgm:prSet presAssocID="{CFA64A71-BA9D-FE4B-894D-C3B37A8B6732}" presName="Name13" presStyleLbl="parChTrans1D2" presStyleIdx="14" presStyleCnt="20"/>
      <dgm:spPr/>
    </dgm:pt>
    <dgm:pt modelId="{84AF0035-BFE5-2044-A7EB-39D21B6B4C23}" type="pres">
      <dgm:prSet presAssocID="{E048C408-DFFD-2A4B-AD60-BFF6809DC491}" presName="childText" presStyleLbl="bgAcc1" presStyleIdx="14" presStyleCnt="20">
        <dgm:presLayoutVars>
          <dgm:bulletEnabled val="1"/>
        </dgm:presLayoutVars>
      </dgm:prSet>
      <dgm:spPr/>
    </dgm:pt>
    <dgm:pt modelId="{6544270F-F7B6-E049-B33D-1DD08D2C8DA4}" type="pres">
      <dgm:prSet presAssocID="{3A825C8F-5C22-DC4C-9096-7603543CCA2E}" presName="Name13" presStyleLbl="parChTrans1D2" presStyleIdx="15" presStyleCnt="20"/>
      <dgm:spPr/>
    </dgm:pt>
    <dgm:pt modelId="{CD3B654E-F569-E741-95FD-BAEB3D862512}" type="pres">
      <dgm:prSet presAssocID="{800EA581-401F-E443-AF44-372A0410D0D3}" presName="childText" presStyleLbl="bgAcc1" presStyleIdx="15" presStyleCnt="20">
        <dgm:presLayoutVars>
          <dgm:bulletEnabled val="1"/>
        </dgm:presLayoutVars>
      </dgm:prSet>
      <dgm:spPr/>
    </dgm:pt>
    <dgm:pt modelId="{A766C9EF-D2E9-D042-A8CB-171425FDB28D}" type="pres">
      <dgm:prSet presAssocID="{09FD0A1D-78DE-F64D-BE33-9B33758A8E1E}" presName="Name13" presStyleLbl="parChTrans1D2" presStyleIdx="16" presStyleCnt="20"/>
      <dgm:spPr/>
    </dgm:pt>
    <dgm:pt modelId="{E6601567-ED76-D74F-A58C-75189A8C23BF}" type="pres">
      <dgm:prSet presAssocID="{C7CD03D8-0BB1-624B-B92E-3CA5BA861352}" presName="childText" presStyleLbl="bgAcc1" presStyleIdx="16" presStyleCnt="20">
        <dgm:presLayoutVars>
          <dgm:bulletEnabled val="1"/>
        </dgm:presLayoutVars>
      </dgm:prSet>
      <dgm:spPr/>
    </dgm:pt>
    <dgm:pt modelId="{4775D44D-645E-E249-ADDE-D82E8C608398}" type="pres">
      <dgm:prSet presAssocID="{C17C17C7-3F20-054E-AB0E-50F06C686A2A}" presName="Name13" presStyleLbl="parChTrans1D2" presStyleIdx="17" presStyleCnt="20"/>
      <dgm:spPr/>
    </dgm:pt>
    <dgm:pt modelId="{051EB7AD-8953-834A-8746-11F852A289E6}" type="pres">
      <dgm:prSet presAssocID="{AECD768C-62D5-FB40-9404-3DEB1DC0CCFC}" presName="childText" presStyleLbl="bgAcc1" presStyleIdx="17" presStyleCnt="20">
        <dgm:presLayoutVars>
          <dgm:bulletEnabled val="1"/>
        </dgm:presLayoutVars>
      </dgm:prSet>
      <dgm:spPr/>
    </dgm:pt>
    <dgm:pt modelId="{719EB4DA-DF2C-5D44-A48A-750440292576}" type="pres">
      <dgm:prSet presAssocID="{AE805E67-4EA8-E44E-977C-CE7A6905D586}" presName="root" presStyleCnt="0"/>
      <dgm:spPr/>
    </dgm:pt>
    <dgm:pt modelId="{39FC2340-0F74-CF48-9C7B-51D8F6F2215E}" type="pres">
      <dgm:prSet presAssocID="{AE805E67-4EA8-E44E-977C-CE7A6905D586}" presName="rootComposite" presStyleCnt="0"/>
      <dgm:spPr/>
    </dgm:pt>
    <dgm:pt modelId="{F22BDB45-6DFC-C945-B9D7-19948CF5FF0A}" type="pres">
      <dgm:prSet presAssocID="{AE805E67-4EA8-E44E-977C-CE7A6905D586}" presName="rootText" presStyleLbl="node1" presStyleIdx="4" presStyleCnt="5"/>
      <dgm:spPr/>
    </dgm:pt>
    <dgm:pt modelId="{31ED4CE2-5851-2844-95C2-49FB992474CB}" type="pres">
      <dgm:prSet presAssocID="{AE805E67-4EA8-E44E-977C-CE7A6905D586}" presName="rootConnector" presStyleLbl="node1" presStyleIdx="4" presStyleCnt="5"/>
      <dgm:spPr/>
    </dgm:pt>
    <dgm:pt modelId="{43DD40E6-F2F7-A242-93A4-9837A08DBC2B}" type="pres">
      <dgm:prSet presAssocID="{AE805E67-4EA8-E44E-977C-CE7A6905D586}" presName="childShape" presStyleCnt="0"/>
      <dgm:spPr/>
    </dgm:pt>
    <dgm:pt modelId="{9BB28569-8A99-3547-82B9-E7AE7B791E8E}" type="pres">
      <dgm:prSet presAssocID="{980B70E5-30DC-1C47-A775-4EFAE7B3F939}" presName="Name13" presStyleLbl="parChTrans1D2" presStyleIdx="18" presStyleCnt="20"/>
      <dgm:spPr/>
    </dgm:pt>
    <dgm:pt modelId="{D6C47007-297A-9149-B858-94EACBFC3B98}" type="pres">
      <dgm:prSet presAssocID="{1E59CAD3-9F6E-FD4F-BAF7-EF4CC902E143}" presName="childText" presStyleLbl="bgAcc1" presStyleIdx="18" presStyleCnt="20">
        <dgm:presLayoutVars>
          <dgm:bulletEnabled val="1"/>
        </dgm:presLayoutVars>
      </dgm:prSet>
      <dgm:spPr/>
    </dgm:pt>
    <dgm:pt modelId="{57251F56-0827-F642-9213-6BAF8C24320C}" type="pres">
      <dgm:prSet presAssocID="{2891CC72-C4C8-4E42-8F5E-A6C8C6D002B0}" presName="Name13" presStyleLbl="parChTrans1D2" presStyleIdx="19" presStyleCnt="20"/>
      <dgm:spPr/>
    </dgm:pt>
    <dgm:pt modelId="{18EDD8C2-B42A-184F-9F26-A856FFE0B12C}" type="pres">
      <dgm:prSet presAssocID="{C2697DC4-583D-BB44-81DC-86E313B73653}" presName="childText" presStyleLbl="bgAcc1" presStyleIdx="19" presStyleCnt="20">
        <dgm:presLayoutVars>
          <dgm:bulletEnabled val="1"/>
        </dgm:presLayoutVars>
      </dgm:prSet>
      <dgm:spPr/>
    </dgm:pt>
  </dgm:ptLst>
  <dgm:cxnLst>
    <dgm:cxn modelId="{A1630902-C7B6-3246-B737-75C4FD1E5E68}" type="presOf" srcId="{AE805E67-4EA8-E44E-977C-CE7A6905D586}" destId="{F22BDB45-6DFC-C945-B9D7-19948CF5FF0A}" srcOrd="0" destOrd="0" presId="urn:microsoft.com/office/officeart/2005/8/layout/hierarchy3"/>
    <dgm:cxn modelId="{9FA96202-515E-3C49-91C4-665194E6AA8D}" srcId="{83FDFBF5-3880-C34C-9F88-A7C7CC3A1EA2}" destId="{C7CD03D8-0BB1-624B-B92E-3CA5BA861352}" srcOrd="3" destOrd="0" parTransId="{09FD0A1D-78DE-F64D-BE33-9B33758A8E1E}" sibTransId="{9CC5CB52-E772-2B46-B434-7D27450ECF4A}"/>
    <dgm:cxn modelId="{09E42F05-D932-BF4E-80E0-4EFDC24A69A1}" srcId="{83FDFBF5-3880-C34C-9F88-A7C7CC3A1EA2}" destId="{AECD768C-62D5-FB40-9404-3DEB1DC0CCFC}" srcOrd="4" destOrd="0" parTransId="{C17C17C7-3F20-054E-AB0E-50F06C686A2A}" sibTransId="{50838162-1AD2-C64B-8356-F56C7ECEFED2}"/>
    <dgm:cxn modelId="{3A7D9C13-BA99-1341-9604-4229A9B67365}" srcId="{83FDFBF5-3880-C34C-9F88-A7C7CC3A1EA2}" destId="{E048C408-DFFD-2A4B-AD60-BFF6809DC491}" srcOrd="1" destOrd="0" parTransId="{CFA64A71-BA9D-FE4B-894D-C3B37A8B6732}" sibTransId="{F7F02BF2-BF8D-0A4E-A604-49385B5ECEA1}"/>
    <dgm:cxn modelId="{F0087F15-8F77-6147-864C-5572FB44E39D}" type="presOf" srcId="{3A8FFC6B-BF3F-0D49-A951-6E7772E893A0}" destId="{BEF1671F-3DF5-494B-AE25-2434EBDA1A68}" srcOrd="0" destOrd="0" presId="urn:microsoft.com/office/officeart/2005/8/layout/hierarchy3"/>
    <dgm:cxn modelId="{E1E12316-26BB-CD43-9B40-A2F8E3448BAB}" type="presOf" srcId="{42BF2C42-76AF-0C47-87F9-E812DD474A24}" destId="{0D6F72C5-DE37-E941-AD44-5970467C2A96}" srcOrd="0" destOrd="0" presId="urn:microsoft.com/office/officeart/2005/8/layout/hierarchy3"/>
    <dgm:cxn modelId="{40105A16-B8B1-AD44-99B7-8191C901FA57}" srcId="{14DA0B7A-897A-7C41-9759-93C7D9C8F0EA}" destId="{D2DC4467-C2C2-8A4E-960B-CB89039407FD}" srcOrd="0" destOrd="0" parTransId="{401C2EE8-FE3D-0245-95E9-232E1246F33E}" sibTransId="{0BE55F7B-756E-6142-BD65-272D8B129CD6}"/>
    <dgm:cxn modelId="{D3EF0D17-B843-6445-A757-BC619061DD27}" type="presOf" srcId="{08E4D433-C82D-6B4D-8DB3-EA333B4E418F}" destId="{BEB443A0-BDD9-EC4C-9347-4016B3AFF79C}" srcOrd="0" destOrd="0" presId="urn:microsoft.com/office/officeart/2005/8/layout/hierarchy3"/>
    <dgm:cxn modelId="{A5B05218-0429-A842-8E3D-C44060FC0E93}" type="presOf" srcId="{D693665D-1E30-4E45-8191-F5B6A3F4DF1E}" destId="{161E2220-9CCC-FC4A-8FB2-63C6E682F6DF}" srcOrd="0" destOrd="0" presId="urn:microsoft.com/office/officeart/2005/8/layout/hierarchy3"/>
    <dgm:cxn modelId="{33ACCC18-5A2F-F04F-9F3E-FC1215629D5A}" srcId="{E45252E5-FABB-8C40-806C-3AFF4E75FCE9}" destId="{3A8FFC6B-BF3F-0D49-A951-6E7772E893A0}" srcOrd="3" destOrd="0" parTransId="{08E4D433-C82D-6B4D-8DB3-EA333B4E418F}" sibTransId="{A7370645-CD41-2C49-8423-6BDAF87D87E7}"/>
    <dgm:cxn modelId="{2556631E-1AD9-2A41-BAA5-C7AA92B6518F}" type="presOf" srcId="{83FDFBF5-3880-C34C-9F88-A7C7CC3A1EA2}" destId="{40C13E8D-350F-9F47-8B40-A10BE8257C70}" srcOrd="1" destOrd="0" presId="urn:microsoft.com/office/officeart/2005/8/layout/hierarchy3"/>
    <dgm:cxn modelId="{5921D81E-C961-5041-A1DF-0F2C4F7553B6}" srcId="{6D9B0BE5-F451-AE44-9B29-AE62DFDE9BAD}" destId="{A93A9E4C-E7D0-FD43-9FB4-8DBFA8D52D70}" srcOrd="0" destOrd="0" parTransId="{2A68335A-5EE8-7946-BC00-E2667CBF3CE7}" sibTransId="{9B94EF06-5AEB-7C4E-95D8-9DB2D3C38CA9}"/>
    <dgm:cxn modelId="{3B755B28-7371-B34D-A565-29324668190F}" srcId="{E45252E5-FABB-8C40-806C-3AFF4E75FCE9}" destId="{206D0424-0AA5-1944-8E06-3FA46661E66D}" srcOrd="2" destOrd="0" parTransId="{B91791F1-5F93-AB4C-84CF-846BC1547244}" sibTransId="{698EEEE6-E658-E842-A101-A179B9FDF06D}"/>
    <dgm:cxn modelId="{0155C629-C796-804F-955E-CB0C0C310926}" type="presOf" srcId="{2891CC72-C4C8-4E42-8F5E-A6C8C6D002B0}" destId="{57251F56-0827-F642-9213-6BAF8C24320C}" srcOrd="0" destOrd="0" presId="urn:microsoft.com/office/officeart/2005/8/layout/hierarchy3"/>
    <dgm:cxn modelId="{7142822A-61B7-6445-9D3A-F74806840667}" type="presOf" srcId="{AE805E67-4EA8-E44E-977C-CE7A6905D586}" destId="{31ED4CE2-5851-2844-95C2-49FB992474CB}" srcOrd="1" destOrd="0" presId="urn:microsoft.com/office/officeart/2005/8/layout/hierarchy3"/>
    <dgm:cxn modelId="{3513812C-85B0-AD43-9E17-14A171772A6E}" type="presOf" srcId="{14DA0B7A-897A-7C41-9759-93C7D9C8F0EA}" destId="{7634BA55-D044-B248-8F77-5614E76D7120}" srcOrd="0" destOrd="0" presId="urn:microsoft.com/office/officeart/2005/8/layout/hierarchy3"/>
    <dgm:cxn modelId="{7480D72E-87E8-AA48-BC7C-7F79AAF4E0A7}" srcId="{A93A9E4C-E7D0-FD43-9FB4-8DBFA8D52D70}" destId="{5795DD57-74CB-CB48-8D1D-45DA4D8935E8}" srcOrd="2" destOrd="0" parTransId="{6AFE073A-80E7-F748-9A7F-B9B70E9AE933}" sibTransId="{EECE744A-6A32-6E4F-BC5F-ABDF090D22B7}"/>
    <dgm:cxn modelId="{1D7A922F-C6D5-7645-9B9F-21AF5EB2B4BD}" srcId="{A93A9E4C-E7D0-FD43-9FB4-8DBFA8D52D70}" destId="{9C8C6F10-0861-024F-B313-D860E27B22FC}" srcOrd="4" destOrd="0" parTransId="{F59CACE4-682F-7A4D-92F2-3B1FBBF01AE8}" sibTransId="{A5B2F138-9715-E242-8CC8-A027957736BF}"/>
    <dgm:cxn modelId="{F0B8D235-46B6-914B-8B5C-23CEDD7E24FE}" type="presOf" srcId="{C17C17C7-3F20-054E-AB0E-50F06C686A2A}" destId="{4775D44D-645E-E249-ADDE-D82E8C608398}" srcOrd="0" destOrd="0" presId="urn:microsoft.com/office/officeart/2005/8/layout/hierarchy3"/>
    <dgm:cxn modelId="{17B64441-6710-BD4B-8BCA-12D6D8C2AD54}" srcId="{E45252E5-FABB-8C40-806C-3AFF4E75FCE9}" destId="{1A43F41A-952A-8D4A-96DD-5994AED170B7}" srcOrd="0" destOrd="0" parTransId="{CA5D1486-C56C-594C-905E-13012BA57F9F}" sibTransId="{DB309734-0602-A845-82B0-D06B8580D2C4}"/>
    <dgm:cxn modelId="{E134A242-C4F9-584A-9F36-FF5C8ADDE147}" type="presOf" srcId="{B91791F1-5F93-AB4C-84CF-846BC1547244}" destId="{BF408421-FF0A-F54E-B93E-57AA7AC549C4}" srcOrd="0" destOrd="0" presId="urn:microsoft.com/office/officeart/2005/8/layout/hierarchy3"/>
    <dgm:cxn modelId="{15449545-FA3D-D049-904D-4A08972252D3}" type="presOf" srcId="{F59CACE4-682F-7A4D-92F2-3B1FBBF01AE8}" destId="{C1B131E3-501B-D54B-87C3-86BF06BB35E8}" srcOrd="0" destOrd="0" presId="urn:microsoft.com/office/officeart/2005/8/layout/hierarchy3"/>
    <dgm:cxn modelId="{1F00DB48-0FCB-5847-A613-168E30AD5D52}" srcId="{14DA0B7A-897A-7C41-9759-93C7D9C8F0EA}" destId="{4BB958FD-9F3E-B344-BCB4-42AC09735FE8}" srcOrd="2" destOrd="0" parTransId="{D693665D-1E30-4E45-8191-F5B6A3F4DF1E}" sibTransId="{765EEAB1-1780-D844-ACD9-03EC80212351}"/>
    <dgm:cxn modelId="{F622D049-624C-B641-88D7-6A2C50242999}" type="presOf" srcId="{206D0424-0AA5-1944-8E06-3FA46661E66D}" destId="{0F6014B9-FF15-0546-AA04-F591028B596A}" srcOrd="0" destOrd="0" presId="urn:microsoft.com/office/officeart/2005/8/layout/hierarchy3"/>
    <dgm:cxn modelId="{BC8C9C4B-C037-8446-ABCB-A7E79CFE015B}" type="presOf" srcId="{83FDFBF5-3880-C34C-9F88-A7C7CC3A1EA2}" destId="{2FA8F23F-35CD-C54A-8783-629A03772AEC}" srcOrd="0" destOrd="0" presId="urn:microsoft.com/office/officeart/2005/8/layout/hierarchy3"/>
    <dgm:cxn modelId="{79208053-7846-E842-AAEA-CC0A69602FC3}" srcId="{83FDFBF5-3880-C34C-9F88-A7C7CC3A1EA2}" destId="{C064CADF-FE71-0043-B9BC-E5BAAFA28C01}" srcOrd="0" destOrd="0" parTransId="{8D01A9D7-1A6D-E144-B16A-654748C59E4C}" sibTransId="{24D9B3E1-21EF-B34D-9245-1F0C4390EE86}"/>
    <dgm:cxn modelId="{3FD8BC56-99A1-AE42-A468-6602C91B9955}" type="presOf" srcId="{E048C408-DFFD-2A4B-AD60-BFF6809DC491}" destId="{84AF0035-BFE5-2044-A7EB-39D21B6B4C23}" srcOrd="0" destOrd="0" presId="urn:microsoft.com/office/officeart/2005/8/layout/hierarchy3"/>
    <dgm:cxn modelId="{D4BD2A57-52FF-4E49-9879-77CE9B10A552}" type="presOf" srcId="{AECD768C-62D5-FB40-9404-3DEB1DC0CCFC}" destId="{051EB7AD-8953-834A-8746-11F852A289E6}" srcOrd="0" destOrd="0" presId="urn:microsoft.com/office/officeart/2005/8/layout/hierarchy3"/>
    <dgm:cxn modelId="{BEFD6657-56B2-6A4F-B1FB-B434FB906302}" type="presOf" srcId="{CD9F43A6-8F78-DE4D-81D1-D3D5306C0AA4}" destId="{B14971FA-8479-2647-910A-061B76333F31}" srcOrd="0" destOrd="0" presId="urn:microsoft.com/office/officeart/2005/8/layout/hierarchy3"/>
    <dgm:cxn modelId="{65BAC857-CD4C-E34D-AD2B-F5F8670277E5}" type="presOf" srcId="{14DA0B7A-897A-7C41-9759-93C7D9C8F0EA}" destId="{2D2AA0B9-FFE1-3F4D-A350-15F910F3BD22}" srcOrd="1" destOrd="0" presId="urn:microsoft.com/office/officeart/2005/8/layout/hierarchy3"/>
    <dgm:cxn modelId="{82586959-12D6-A747-A851-486947989D66}" type="presOf" srcId="{A93A9E4C-E7D0-FD43-9FB4-8DBFA8D52D70}" destId="{2909E014-6738-864A-AF59-65F10CC999ED}" srcOrd="1" destOrd="0" presId="urn:microsoft.com/office/officeart/2005/8/layout/hierarchy3"/>
    <dgm:cxn modelId="{DE60B85A-F816-F548-8517-AEBBF49030C1}" srcId="{83FDFBF5-3880-C34C-9F88-A7C7CC3A1EA2}" destId="{800EA581-401F-E443-AF44-372A0410D0D3}" srcOrd="2" destOrd="0" parTransId="{3A825C8F-5C22-DC4C-9096-7603543CCA2E}" sibTransId="{65ADC1C0-435E-EB48-80C5-F08981257D68}"/>
    <dgm:cxn modelId="{FB5C5C5B-A8AE-2946-ABAD-11E3438A4B0A}" type="presOf" srcId="{9C97E3CD-9DB7-8547-A1AF-3A54690762ED}" destId="{CE2BE487-796D-8A42-81EB-73B1FF7FA130}" srcOrd="0" destOrd="0" presId="urn:microsoft.com/office/officeart/2005/8/layout/hierarchy3"/>
    <dgm:cxn modelId="{88BFA160-036B-564F-8C43-0446516011EA}" type="presOf" srcId="{1E59CAD3-9F6E-FD4F-BAF7-EF4CC902E143}" destId="{D6C47007-297A-9149-B858-94EACBFC3B98}" srcOrd="0" destOrd="0" presId="urn:microsoft.com/office/officeart/2005/8/layout/hierarchy3"/>
    <dgm:cxn modelId="{8C0CC161-3074-7744-AB0A-4DE1D8808980}" type="presOf" srcId="{299921CB-0981-C243-BCFB-6CDAF30964CE}" destId="{E10A6EA2-0E21-A04F-8004-BFC9A0538066}" srcOrd="0" destOrd="0" presId="urn:microsoft.com/office/officeart/2005/8/layout/hierarchy3"/>
    <dgm:cxn modelId="{5B3B0962-F517-B84A-9390-4E4709FB4151}" type="presOf" srcId="{EE0E0967-FB18-3843-A445-F9E668C5B807}" destId="{D5ADA3D3-42F7-7E46-8A26-E9B8F121314A}" srcOrd="0" destOrd="0" presId="urn:microsoft.com/office/officeart/2005/8/layout/hierarchy3"/>
    <dgm:cxn modelId="{8F97A565-5079-AD46-9A46-13009149A154}" type="presOf" srcId="{6DC3CD95-3A31-3D40-AA3D-5BB5D36AE273}" destId="{616DEDF7-72CD-4B41-826B-4210486F480B}" srcOrd="0" destOrd="0" presId="urn:microsoft.com/office/officeart/2005/8/layout/hierarchy3"/>
    <dgm:cxn modelId="{6F795D68-F266-304A-AF50-AFD3CB9D14F0}" type="presOf" srcId="{E45252E5-FABB-8C40-806C-3AFF4E75FCE9}" destId="{242389FB-B41A-B840-98D8-A9B4FB6A89AF}" srcOrd="1" destOrd="0" presId="urn:microsoft.com/office/officeart/2005/8/layout/hierarchy3"/>
    <dgm:cxn modelId="{66E6066A-06D2-A342-BE13-8133812ECB60}" type="presOf" srcId="{5C410414-BDEA-A640-9DBE-2BE4F41CC57A}" destId="{169F2B92-7101-9A4A-83D1-C2CF5AF28505}" srcOrd="0" destOrd="0" presId="urn:microsoft.com/office/officeart/2005/8/layout/hierarchy3"/>
    <dgm:cxn modelId="{9587EB6C-7C62-534A-8CEA-D5ED5180C6ED}" type="presOf" srcId="{6D9B0BE5-F451-AE44-9B29-AE62DFDE9BAD}" destId="{16F309D4-BE1B-8D44-A2FF-C8BCEAD0DD2A}" srcOrd="0" destOrd="0" presId="urn:microsoft.com/office/officeart/2005/8/layout/hierarchy3"/>
    <dgm:cxn modelId="{7061616E-A516-8741-93D7-76C7D802816D}" type="presOf" srcId="{CFA64A71-BA9D-FE4B-894D-C3B37A8B6732}" destId="{3FB2E1DB-7F77-A940-A44D-A2EBF02F6AA8}" srcOrd="0" destOrd="0" presId="urn:microsoft.com/office/officeart/2005/8/layout/hierarchy3"/>
    <dgm:cxn modelId="{22A13D6F-D352-A942-9A2C-44ECE4DFCE6A}" type="presOf" srcId="{FC20E98D-423C-7D44-9229-F20C9684638E}" destId="{3F514349-0FED-5C41-B786-EE797FD6A6ED}" srcOrd="0" destOrd="0" presId="urn:microsoft.com/office/officeart/2005/8/layout/hierarchy3"/>
    <dgm:cxn modelId="{D078926F-F1CE-5E43-938E-46A4C6FE178C}" type="presOf" srcId="{3A825C8F-5C22-DC4C-9096-7603543CCA2E}" destId="{6544270F-F7B6-E049-B33D-1DD08D2C8DA4}" srcOrd="0" destOrd="0" presId="urn:microsoft.com/office/officeart/2005/8/layout/hierarchy3"/>
    <dgm:cxn modelId="{43A4BD70-C1A4-AF43-8865-48C5FF68ECB6}" type="presOf" srcId="{9C8C6F10-0861-024F-B313-D860E27B22FC}" destId="{4A6CB5A3-1BA1-7E4B-8C56-627C34B6ECD3}" srcOrd="0" destOrd="0" presId="urn:microsoft.com/office/officeart/2005/8/layout/hierarchy3"/>
    <dgm:cxn modelId="{64AB747B-70D3-BB4D-B4F4-9B27A1465802}" srcId="{6D9B0BE5-F451-AE44-9B29-AE62DFDE9BAD}" destId="{E45252E5-FABB-8C40-806C-3AFF4E75FCE9}" srcOrd="1" destOrd="0" parTransId="{EFF56ECC-82CF-9E48-8A6B-9F7BE1AD3166}" sibTransId="{52E1C086-FA7D-2241-9528-6BB9F16171F3}"/>
    <dgm:cxn modelId="{3034597D-AFB8-8549-950B-2C444F708BFA}" type="presOf" srcId="{1A43F41A-952A-8D4A-96DD-5994AED170B7}" destId="{EC7CC600-EAD4-7449-B71C-71141DC3A933}" srcOrd="0" destOrd="0" presId="urn:microsoft.com/office/officeart/2005/8/layout/hierarchy3"/>
    <dgm:cxn modelId="{471F407F-B649-1E48-A8E0-8AC057771A83}" type="presOf" srcId="{980B70E5-30DC-1C47-A775-4EFAE7B3F939}" destId="{9BB28569-8A99-3547-82B9-E7AE7B791E8E}" srcOrd="0" destOrd="0" presId="urn:microsoft.com/office/officeart/2005/8/layout/hierarchy3"/>
    <dgm:cxn modelId="{09B84D81-E958-504E-9B52-F4673109A40D}" type="presOf" srcId="{800EA581-401F-E443-AF44-372A0410D0D3}" destId="{CD3B654E-F569-E741-95FD-BAEB3D862512}" srcOrd="0" destOrd="0" presId="urn:microsoft.com/office/officeart/2005/8/layout/hierarchy3"/>
    <dgm:cxn modelId="{DCCAE682-29A8-0849-9091-0A0A80156B79}" srcId="{AE805E67-4EA8-E44E-977C-CE7A6905D586}" destId="{C2697DC4-583D-BB44-81DC-86E313B73653}" srcOrd="1" destOrd="0" parTransId="{2891CC72-C4C8-4E42-8F5E-A6C8C6D002B0}" sibTransId="{5EAE4E19-5AB0-564F-8904-3BC7AAA9AD5C}"/>
    <dgm:cxn modelId="{87A45785-C100-5947-B9D5-F67D4F8AA9FC}" type="presOf" srcId="{93922F64-2A70-7F4F-A483-8B65EADE1C56}" destId="{5829D355-4F9B-754E-8384-23AF734D3DC1}" srcOrd="0" destOrd="0" presId="urn:microsoft.com/office/officeart/2005/8/layout/hierarchy3"/>
    <dgm:cxn modelId="{F0593E88-DE20-114A-A748-1E4C4F5E9767}" srcId="{6D9B0BE5-F451-AE44-9B29-AE62DFDE9BAD}" destId="{AE805E67-4EA8-E44E-977C-CE7A6905D586}" srcOrd="4" destOrd="0" parTransId="{F62ACB79-F0B7-564F-A02E-275C0C646988}" sibTransId="{20A19F98-901A-124B-B679-5A49740AA061}"/>
    <dgm:cxn modelId="{B6C94F95-56C7-5541-96EF-5D3833EC2A4D}" srcId="{14DA0B7A-897A-7C41-9759-93C7D9C8F0EA}" destId="{CD9F43A6-8F78-DE4D-81D1-D3D5306C0AA4}" srcOrd="3" destOrd="0" parTransId="{25AF418F-5566-C34D-9D1C-F75B9AAB8A1E}" sibTransId="{5FF41155-7CC2-554A-BBF3-93BD3CA9CC63}"/>
    <dgm:cxn modelId="{A07C44A7-2F54-6040-86E9-C047BF3B0409}" type="presOf" srcId="{25AF418F-5566-C34D-9D1C-F75B9AAB8A1E}" destId="{62372CAD-8CEA-5249-B725-06E12ECDABED}" srcOrd="0" destOrd="0" presId="urn:microsoft.com/office/officeart/2005/8/layout/hierarchy3"/>
    <dgm:cxn modelId="{04161FA9-FAD1-3040-B06C-CDC5B7FCB886}" type="presOf" srcId="{C7CD03D8-0BB1-624B-B92E-3CA5BA861352}" destId="{E6601567-ED76-D74F-A58C-75189A8C23BF}" srcOrd="0" destOrd="0" presId="urn:microsoft.com/office/officeart/2005/8/layout/hierarchy3"/>
    <dgm:cxn modelId="{B55A46A9-F19C-3748-9B73-2718CCBFD140}" type="presOf" srcId="{A1220BA8-1B0D-E947-ACEC-A4409A4A2808}" destId="{59399A21-1752-9641-909F-1DF60D99EC93}" srcOrd="0" destOrd="0" presId="urn:microsoft.com/office/officeart/2005/8/layout/hierarchy3"/>
    <dgm:cxn modelId="{FB0CF7AB-B4A5-1748-B93F-F032F0819793}" srcId="{A93A9E4C-E7D0-FD43-9FB4-8DBFA8D52D70}" destId="{42BF2C42-76AF-0C47-87F9-E812DD474A24}" srcOrd="0" destOrd="0" parTransId="{FC20E98D-423C-7D44-9229-F20C9684638E}" sibTransId="{8AB44F8F-7C12-D34C-A8C0-B88B856282B8}"/>
    <dgm:cxn modelId="{84993AB0-7075-DE4A-A5B4-9CAF94740A6F}" srcId="{6D9B0BE5-F451-AE44-9B29-AE62DFDE9BAD}" destId="{14DA0B7A-897A-7C41-9759-93C7D9C8F0EA}" srcOrd="2" destOrd="0" parTransId="{D2B86BAF-5275-4D4D-9C82-E31191138425}" sibTransId="{E0F68FFC-15D7-CF4B-8542-EE341028D7F9}"/>
    <dgm:cxn modelId="{9BCD60B4-D9CC-114E-AF26-D4B0FEA43B14}" type="presOf" srcId="{401C2EE8-FE3D-0245-95E9-232E1246F33E}" destId="{1AE04E00-72C6-3B42-81CF-52ED553CDC38}" srcOrd="0" destOrd="0" presId="urn:microsoft.com/office/officeart/2005/8/layout/hierarchy3"/>
    <dgm:cxn modelId="{3D2959B5-129A-364E-B788-1BFAAA4025AD}" type="presOf" srcId="{CA5D1486-C56C-594C-905E-13012BA57F9F}" destId="{BA439008-8DC7-6F4F-BB51-CC1D048D6E8D}" srcOrd="0" destOrd="0" presId="urn:microsoft.com/office/officeart/2005/8/layout/hierarchy3"/>
    <dgm:cxn modelId="{FEA9FBBB-6DAF-E94D-A4C7-F9E9D754E30E}" srcId="{A93A9E4C-E7D0-FD43-9FB4-8DBFA8D52D70}" destId="{93922F64-2A70-7F4F-A483-8B65EADE1C56}" srcOrd="1" destOrd="0" parTransId="{EE0E0967-FB18-3843-A445-F9E668C5B807}" sibTransId="{CE6E5C10-3507-BA4C-AF7F-50D58E676809}"/>
    <dgm:cxn modelId="{7FF473BD-12F8-B34F-8EB9-65B378066435}" type="presOf" srcId="{D2DC4467-C2C2-8A4E-960B-CB89039407FD}" destId="{357FEADB-5D8F-E343-88F9-3F0C634B3357}" srcOrd="0" destOrd="0" presId="urn:microsoft.com/office/officeart/2005/8/layout/hierarchy3"/>
    <dgm:cxn modelId="{6AEF38CF-A221-174B-BFC3-6392C097F23E}" type="presOf" srcId="{4BB958FD-9F3E-B344-BCB4-42AC09735FE8}" destId="{4E24FB6B-4ED1-9B47-AF93-F82344D22B18}" srcOrd="0" destOrd="0" presId="urn:microsoft.com/office/officeart/2005/8/layout/hierarchy3"/>
    <dgm:cxn modelId="{449915D2-FE9B-6943-9CE6-794E4132EC7C}" type="presOf" srcId="{A93A9E4C-E7D0-FD43-9FB4-8DBFA8D52D70}" destId="{4D8ABC0C-6D7F-824A-921B-618D8A3A8EB1}" srcOrd="0" destOrd="0" presId="urn:microsoft.com/office/officeart/2005/8/layout/hierarchy3"/>
    <dgm:cxn modelId="{AD1240D2-3E58-B24B-BAEF-93DF717A39A4}" type="presOf" srcId="{09FD0A1D-78DE-F64D-BE33-9B33758A8E1E}" destId="{A766C9EF-D2E9-D042-A8CB-171425FDB28D}" srcOrd="0" destOrd="0" presId="urn:microsoft.com/office/officeart/2005/8/layout/hierarchy3"/>
    <dgm:cxn modelId="{DBFDD6D2-463A-244E-921C-BC50EE2E21EB}" srcId="{6D9B0BE5-F451-AE44-9B29-AE62DFDE9BAD}" destId="{83FDFBF5-3880-C34C-9F88-A7C7CC3A1EA2}" srcOrd="3" destOrd="0" parTransId="{64C92EAF-A4BF-6240-8D33-6CF3A1E0E8EA}" sibTransId="{1A6786D2-A08D-E049-AFB2-E72E5DCEFF2F}"/>
    <dgm:cxn modelId="{5758E9D3-2D0A-0444-AFAE-725829B677D4}" type="presOf" srcId="{5795DD57-74CB-CB48-8D1D-45DA4D8935E8}" destId="{710A9C0B-B81D-0947-8B02-F4620CE15477}" srcOrd="0" destOrd="0" presId="urn:microsoft.com/office/officeart/2005/8/layout/hierarchy3"/>
    <dgm:cxn modelId="{47D050D9-1C1C-0E40-848D-A04AD47C3443}" type="presOf" srcId="{8D01A9D7-1A6D-E144-B16A-654748C59E4C}" destId="{9E84B493-25F5-DF4D-8ECA-FEBA7BDB38A6}" srcOrd="0" destOrd="0" presId="urn:microsoft.com/office/officeart/2005/8/layout/hierarchy3"/>
    <dgm:cxn modelId="{F203BCDA-F4A2-FF4B-ADFB-4C0B8328A80A}" type="presOf" srcId="{C064CADF-FE71-0043-B9BC-E5BAAFA28C01}" destId="{6383FD56-CDCD-2945-B041-9B16034E0889}" srcOrd="0" destOrd="0" presId="urn:microsoft.com/office/officeart/2005/8/layout/hierarchy3"/>
    <dgm:cxn modelId="{0698AEE1-F9CB-DE47-9BE1-19E1DE39787E}" type="presOf" srcId="{6AFE073A-80E7-F748-9A7F-B9B70E9AE933}" destId="{0D5AF32C-FEAC-B940-AEF9-113FD4C540C5}" srcOrd="0" destOrd="0" presId="urn:microsoft.com/office/officeart/2005/8/layout/hierarchy3"/>
    <dgm:cxn modelId="{D65BBDE4-4619-9C49-A3E3-CB9EDAD0E371}" srcId="{14DA0B7A-897A-7C41-9759-93C7D9C8F0EA}" destId="{9C97E3CD-9DB7-8547-A1AF-3A54690762ED}" srcOrd="1" destOrd="0" parTransId="{6DC3CD95-3A31-3D40-AA3D-5BB5D36AE273}" sibTransId="{DF5AEB34-CC70-9749-8E94-6A2405799434}"/>
    <dgm:cxn modelId="{5029F8E4-5DF6-B344-8416-688C0AE65C7A}" type="presOf" srcId="{C2697DC4-583D-BB44-81DC-86E313B73653}" destId="{18EDD8C2-B42A-184F-9F26-A856FFE0B12C}" srcOrd="0" destOrd="0" presId="urn:microsoft.com/office/officeart/2005/8/layout/hierarchy3"/>
    <dgm:cxn modelId="{9AC4EEE6-314F-4345-8177-4E31B3AF23D6}" srcId="{A93A9E4C-E7D0-FD43-9FB4-8DBFA8D52D70}" destId="{5C410414-BDEA-A640-9DBE-2BE4F41CC57A}" srcOrd="3" destOrd="0" parTransId="{A1220BA8-1B0D-E947-ACEC-A4409A4A2808}" sibTransId="{73A0378E-2B63-B546-A1F3-E2DC0D0C8CC6}"/>
    <dgm:cxn modelId="{AD9328ED-D8F1-7442-BACD-CAD6807A04BD}" srcId="{E45252E5-FABB-8C40-806C-3AFF4E75FCE9}" destId="{0CD26FE5-FCFA-4E44-BF9A-A90E33BD5F9A}" srcOrd="1" destOrd="0" parTransId="{299921CB-0981-C243-BCFB-6CDAF30964CE}" sibTransId="{70716163-2DCF-E44A-B350-F696C702CFC1}"/>
    <dgm:cxn modelId="{EDB557EE-CB1B-8F41-8B5E-A1241CF79F76}" type="presOf" srcId="{0CD26FE5-FCFA-4E44-BF9A-A90E33BD5F9A}" destId="{0802B708-C3AC-C64A-B8CF-25D102BF4DB4}" srcOrd="0" destOrd="0" presId="urn:microsoft.com/office/officeart/2005/8/layout/hierarchy3"/>
    <dgm:cxn modelId="{C18982F8-C939-744F-91A3-62FE068BFA9C}" type="presOf" srcId="{E45252E5-FABB-8C40-806C-3AFF4E75FCE9}" destId="{587C74AE-3394-DC49-8CB1-76A0BCD058A4}" srcOrd="0" destOrd="0" presId="urn:microsoft.com/office/officeart/2005/8/layout/hierarchy3"/>
    <dgm:cxn modelId="{43A62CFB-DBB4-D84F-A6CA-4777F4553E76}" srcId="{AE805E67-4EA8-E44E-977C-CE7A6905D586}" destId="{1E59CAD3-9F6E-FD4F-BAF7-EF4CC902E143}" srcOrd="0" destOrd="0" parTransId="{980B70E5-30DC-1C47-A775-4EFAE7B3F939}" sibTransId="{DBDD853A-F9F1-8F4C-928D-3D6FA5A0F10C}"/>
    <dgm:cxn modelId="{992AFAE8-89FE-D34C-AEC9-FF93C8D7F811}" type="presParOf" srcId="{16F309D4-BE1B-8D44-A2FF-C8BCEAD0DD2A}" destId="{3DDC912D-8E1C-FC40-8BE1-FC7633F2A656}" srcOrd="0" destOrd="0" presId="urn:microsoft.com/office/officeart/2005/8/layout/hierarchy3"/>
    <dgm:cxn modelId="{9F9300AC-5FA8-9740-8FB4-349311507BDC}" type="presParOf" srcId="{3DDC912D-8E1C-FC40-8BE1-FC7633F2A656}" destId="{D2840C6D-7CF9-004A-B564-C355E09D9DF8}" srcOrd="0" destOrd="0" presId="urn:microsoft.com/office/officeart/2005/8/layout/hierarchy3"/>
    <dgm:cxn modelId="{165A78C5-39B2-4C4E-BB3C-F2D2C3EC8139}" type="presParOf" srcId="{D2840C6D-7CF9-004A-B564-C355E09D9DF8}" destId="{4D8ABC0C-6D7F-824A-921B-618D8A3A8EB1}" srcOrd="0" destOrd="0" presId="urn:microsoft.com/office/officeart/2005/8/layout/hierarchy3"/>
    <dgm:cxn modelId="{91463903-3FB9-CD4E-8E0B-E2875921C801}" type="presParOf" srcId="{D2840C6D-7CF9-004A-B564-C355E09D9DF8}" destId="{2909E014-6738-864A-AF59-65F10CC999ED}" srcOrd="1" destOrd="0" presId="urn:microsoft.com/office/officeart/2005/8/layout/hierarchy3"/>
    <dgm:cxn modelId="{00096710-5698-0B42-B061-4E6E8A3BC1B9}" type="presParOf" srcId="{3DDC912D-8E1C-FC40-8BE1-FC7633F2A656}" destId="{12C4B6BF-E8D8-AE43-A701-F7E2A777D60C}" srcOrd="1" destOrd="0" presId="urn:microsoft.com/office/officeart/2005/8/layout/hierarchy3"/>
    <dgm:cxn modelId="{C8887D29-5ABE-3748-9161-36BDCF52E203}" type="presParOf" srcId="{12C4B6BF-E8D8-AE43-A701-F7E2A777D60C}" destId="{3F514349-0FED-5C41-B786-EE797FD6A6ED}" srcOrd="0" destOrd="0" presId="urn:microsoft.com/office/officeart/2005/8/layout/hierarchy3"/>
    <dgm:cxn modelId="{7E19CECC-2FB6-E74D-9ACC-221CCE797F03}" type="presParOf" srcId="{12C4B6BF-E8D8-AE43-A701-F7E2A777D60C}" destId="{0D6F72C5-DE37-E941-AD44-5970467C2A96}" srcOrd="1" destOrd="0" presId="urn:microsoft.com/office/officeart/2005/8/layout/hierarchy3"/>
    <dgm:cxn modelId="{A8C8E7BE-2E34-274B-ABC9-DA1622CDA8BF}" type="presParOf" srcId="{12C4B6BF-E8D8-AE43-A701-F7E2A777D60C}" destId="{D5ADA3D3-42F7-7E46-8A26-E9B8F121314A}" srcOrd="2" destOrd="0" presId="urn:microsoft.com/office/officeart/2005/8/layout/hierarchy3"/>
    <dgm:cxn modelId="{FF9E9EFA-7765-F943-B553-04DE6F88C43B}" type="presParOf" srcId="{12C4B6BF-E8D8-AE43-A701-F7E2A777D60C}" destId="{5829D355-4F9B-754E-8384-23AF734D3DC1}" srcOrd="3" destOrd="0" presId="urn:microsoft.com/office/officeart/2005/8/layout/hierarchy3"/>
    <dgm:cxn modelId="{9313633E-D343-2746-9307-142C2352AD50}" type="presParOf" srcId="{12C4B6BF-E8D8-AE43-A701-F7E2A777D60C}" destId="{0D5AF32C-FEAC-B940-AEF9-113FD4C540C5}" srcOrd="4" destOrd="0" presId="urn:microsoft.com/office/officeart/2005/8/layout/hierarchy3"/>
    <dgm:cxn modelId="{889C6B6D-A7EF-C740-9157-32505CBEF27D}" type="presParOf" srcId="{12C4B6BF-E8D8-AE43-A701-F7E2A777D60C}" destId="{710A9C0B-B81D-0947-8B02-F4620CE15477}" srcOrd="5" destOrd="0" presId="urn:microsoft.com/office/officeart/2005/8/layout/hierarchy3"/>
    <dgm:cxn modelId="{4DF91FCF-FE82-114B-8CE2-03EEBF7611E2}" type="presParOf" srcId="{12C4B6BF-E8D8-AE43-A701-F7E2A777D60C}" destId="{59399A21-1752-9641-909F-1DF60D99EC93}" srcOrd="6" destOrd="0" presId="urn:microsoft.com/office/officeart/2005/8/layout/hierarchy3"/>
    <dgm:cxn modelId="{274793C4-02AF-8F4C-A385-02D7E3755647}" type="presParOf" srcId="{12C4B6BF-E8D8-AE43-A701-F7E2A777D60C}" destId="{169F2B92-7101-9A4A-83D1-C2CF5AF28505}" srcOrd="7" destOrd="0" presId="urn:microsoft.com/office/officeart/2005/8/layout/hierarchy3"/>
    <dgm:cxn modelId="{022CE76E-9F73-F547-88CC-595AF4C79652}" type="presParOf" srcId="{12C4B6BF-E8D8-AE43-A701-F7E2A777D60C}" destId="{C1B131E3-501B-D54B-87C3-86BF06BB35E8}" srcOrd="8" destOrd="0" presId="urn:microsoft.com/office/officeart/2005/8/layout/hierarchy3"/>
    <dgm:cxn modelId="{D92DE2CE-09E0-8042-9BE8-AFAC1DEE4162}" type="presParOf" srcId="{12C4B6BF-E8D8-AE43-A701-F7E2A777D60C}" destId="{4A6CB5A3-1BA1-7E4B-8C56-627C34B6ECD3}" srcOrd="9" destOrd="0" presId="urn:microsoft.com/office/officeart/2005/8/layout/hierarchy3"/>
    <dgm:cxn modelId="{83B07370-640C-084F-AC46-94DA719FFB34}" type="presParOf" srcId="{16F309D4-BE1B-8D44-A2FF-C8BCEAD0DD2A}" destId="{A96934A9-523B-374E-8C2C-7909AAC40CA6}" srcOrd="1" destOrd="0" presId="urn:microsoft.com/office/officeart/2005/8/layout/hierarchy3"/>
    <dgm:cxn modelId="{643DA1BB-25C5-E242-BBBA-EE2848D73865}" type="presParOf" srcId="{A96934A9-523B-374E-8C2C-7909AAC40CA6}" destId="{F25E26AF-11C2-7749-8719-C27F23C8B04A}" srcOrd="0" destOrd="0" presId="urn:microsoft.com/office/officeart/2005/8/layout/hierarchy3"/>
    <dgm:cxn modelId="{B00A23DF-0C2A-A642-BD66-E3C1A8358995}" type="presParOf" srcId="{F25E26AF-11C2-7749-8719-C27F23C8B04A}" destId="{587C74AE-3394-DC49-8CB1-76A0BCD058A4}" srcOrd="0" destOrd="0" presId="urn:microsoft.com/office/officeart/2005/8/layout/hierarchy3"/>
    <dgm:cxn modelId="{754D5538-6C52-4342-83FC-302D10771CB2}" type="presParOf" srcId="{F25E26AF-11C2-7749-8719-C27F23C8B04A}" destId="{242389FB-B41A-B840-98D8-A9B4FB6A89AF}" srcOrd="1" destOrd="0" presId="urn:microsoft.com/office/officeart/2005/8/layout/hierarchy3"/>
    <dgm:cxn modelId="{3632F7F5-87BE-D14F-A913-88C23F8D802D}" type="presParOf" srcId="{A96934A9-523B-374E-8C2C-7909AAC40CA6}" destId="{DEA32703-74CA-6747-A77B-3BB9BDFE1AED}" srcOrd="1" destOrd="0" presId="urn:microsoft.com/office/officeart/2005/8/layout/hierarchy3"/>
    <dgm:cxn modelId="{8D70DB44-9E15-5A40-A912-4E61AC65606C}" type="presParOf" srcId="{DEA32703-74CA-6747-A77B-3BB9BDFE1AED}" destId="{BA439008-8DC7-6F4F-BB51-CC1D048D6E8D}" srcOrd="0" destOrd="0" presId="urn:microsoft.com/office/officeart/2005/8/layout/hierarchy3"/>
    <dgm:cxn modelId="{1929E65E-F844-084F-B75F-29DFF5D315B5}" type="presParOf" srcId="{DEA32703-74CA-6747-A77B-3BB9BDFE1AED}" destId="{EC7CC600-EAD4-7449-B71C-71141DC3A933}" srcOrd="1" destOrd="0" presId="urn:microsoft.com/office/officeart/2005/8/layout/hierarchy3"/>
    <dgm:cxn modelId="{DE6F69B5-D796-B344-9545-1DBE863DA628}" type="presParOf" srcId="{DEA32703-74CA-6747-A77B-3BB9BDFE1AED}" destId="{E10A6EA2-0E21-A04F-8004-BFC9A0538066}" srcOrd="2" destOrd="0" presId="urn:microsoft.com/office/officeart/2005/8/layout/hierarchy3"/>
    <dgm:cxn modelId="{9971E88E-4EA8-F64C-8743-E134B6758251}" type="presParOf" srcId="{DEA32703-74CA-6747-A77B-3BB9BDFE1AED}" destId="{0802B708-C3AC-C64A-B8CF-25D102BF4DB4}" srcOrd="3" destOrd="0" presId="urn:microsoft.com/office/officeart/2005/8/layout/hierarchy3"/>
    <dgm:cxn modelId="{A0189A5D-81DE-094E-9385-9C35958C2F71}" type="presParOf" srcId="{DEA32703-74CA-6747-A77B-3BB9BDFE1AED}" destId="{BF408421-FF0A-F54E-B93E-57AA7AC549C4}" srcOrd="4" destOrd="0" presId="urn:microsoft.com/office/officeart/2005/8/layout/hierarchy3"/>
    <dgm:cxn modelId="{7BE68071-DB8A-3E48-A7BB-93AE56297445}" type="presParOf" srcId="{DEA32703-74CA-6747-A77B-3BB9BDFE1AED}" destId="{0F6014B9-FF15-0546-AA04-F591028B596A}" srcOrd="5" destOrd="0" presId="urn:microsoft.com/office/officeart/2005/8/layout/hierarchy3"/>
    <dgm:cxn modelId="{64F6BB4F-8223-D54E-90D7-59EAB32C1A45}" type="presParOf" srcId="{DEA32703-74CA-6747-A77B-3BB9BDFE1AED}" destId="{BEB443A0-BDD9-EC4C-9347-4016B3AFF79C}" srcOrd="6" destOrd="0" presId="urn:microsoft.com/office/officeart/2005/8/layout/hierarchy3"/>
    <dgm:cxn modelId="{DCC17FDD-5267-4D48-9770-3C358208B6B9}" type="presParOf" srcId="{DEA32703-74CA-6747-A77B-3BB9BDFE1AED}" destId="{BEF1671F-3DF5-494B-AE25-2434EBDA1A68}" srcOrd="7" destOrd="0" presId="urn:microsoft.com/office/officeart/2005/8/layout/hierarchy3"/>
    <dgm:cxn modelId="{3959BF9A-92F1-FE4A-8F6B-501BD0EF3EF0}" type="presParOf" srcId="{16F309D4-BE1B-8D44-A2FF-C8BCEAD0DD2A}" destId="{CB370BBE-A024-9A49-910B-F9983E11F7A8}" srcOrd="2" destOrd="0" presId="urn:microsoft.com/office/officeart/2005/8/layout/hierarchy3"/>
    <dgm:cxn modelId="{0A1B9DDF-434E-F843-9C83-EBE23C673FDB}" type="presParOf" srcId="{CB370BBE-A024-9A49-910B-F9983E11F7A8}" destId="{7B728FFD-E6EB-4248-AF75-26D3B09973CC}" srcOrd="0" destOrd="0" presId="urn:microsoft.com/office/officeart/2005/8/layout/hierarchy3"/>
    <dgm:cxn modelId="{7BFA2B1D-C8B3-454E-9FB1-4DE521E77F93}" type="presParOf" srcId="{7B728FFD-E6EB-4248-AF75-26D3B09973CC}" destId="{7634BA55-D044-B248-8F77-5614E76D7120}" srcOrd="0" destOrd="0" presId="urn:microsoft.com/office/officeart/2005/8/layout/hierarchy3"/>
    <dgm:cxn modelId="{DE9384BD-D194-BB4D-9CC2-2EC922433763}" type="presParOf" srcId="{7B728FFD-E6EB-4248-AF75-26D3B09973CC}" destId="{2D2AA0B9-FFE1-3F4D-A350-15F910F3BD22}" srcOrd="1" destOrd="0" presId="urn:microsoft.com/office/officeart/2005/8/layout/hierarchy3"/>
    <dgm:cxn modelId="{D61D184B-3030-CA4B-8BE6-B1C337ACA139}" type="presParOf" srcId="{CB370BBE-A024-9A49-910B-F9983E11F7A8}" destId="{41D64697-6E39-5C4A-A402-EFBD9B357B22}" srcOrd="1" destOrd="0" presId="urn:microsoft.com/office/officeart/2005/8/layout/hierarchy3"/>
    <dgm:cxn modelId="{7DF9C2A0-2128-FB4A-AB23-2EF9FC1D612B}" type="presParOf" srcId="{41D64697-6E39-5C4A-A402-EFBD9B357B22}" destId="{1AE04E00-72C6-3B42-81CF-52ED553CDC38}" srcOrd="0" destOrd="0" presId="urn:microsoft.com/office/officeart/2005/8/layout/hierarchy3"/>
    <dgm:cxn modelId="{49760583-6C35-AA4A-8888-47CF49EE5A23}" type="presParOf" srcId="{41D64697-6E39-5C4A-A402-EFBD9B357B22}" destId="{357FEADB-5D8F-E343-88F9-3F0C634B3357}" srcOrd="1" destOrd="0" presId="urn:microsoft.com/office/officeart/2005/8/layout/hierarchy3"/>
    <dgm:cxn modelId="{D58D4A7B-1944-4F4E-B4AF-417BE8E78561}" type="presParOf" srcId="{41D64697-6E39-5C4A-A402-EFBD9B357B22}" destId="{616DEDF7-72CD-4B41-826B-4210486F480B}" srcOrd="2" destOrd="0" presId="urn:microsoft.com/office/officeart/2005/8/layout/hierarchy3"/>
    <dgm:cxn modelId="{01061A23-C35F-BB4A-8C06-6F45FF634F16}" type="presParOf" srcId="{41D64697-6E39-5C4A-A402-EFBD9B357B22}" destId="{CE2BE487-796D-8A42-81EB-73B1FF7FA130}" srcOrd="3" destOrd="0" presId="urn:microsoft.com/office/officeart/2005/8/layout/hierarchy3"/>
    <dgm:cxn modelId="{255991FB-88B8-9C4E-83BA-C1643CA19852}" type="presParOf" srcId="{41D64697-6E39-5C4A-A402-EFBD9B357B22}" destId="{161E2220-9CCC-FC4A-8FB2-63C6E682F6DF}" srcOrd="4" destOrd="0" presId="urn:microsoft.com/office/officeart/2005/8/layout/hierarchy3"/>
    <dgm:cxn modelId="{C5F5A446-69FA-3F48-B08A-560B20489082}" type="presParOf" srcId="{41D64697-6E39-5C4A-A402-EFBD9B357B22}" destId="{4E24FB6B-4ED1-9B47-AF93-F82344D22B18}" srcOrd="5" destOrd="0" presId="urn:microsoft.com/office/officeart/2005/8/layout/hierarchy3"/>
    <dgm:cxn modelId="{FF7B3080-0B49-CE44-985F-E64FABF6168B}" type="presParOf" srcId="{41D64697-6E39-5C4A-A402-EFBD9B357B22}" destId="{62372CAD-8CEA-5249-B725-06E12ECDABED}" srcOrd="6" destOrd="0" presId="urn:microsoft.com/office/officeart/2005/8/layout/hierarchy3"/>
    <dgm:cxn modelId="{C1269F93-6F8B-A54A-AF26-190AC0767BD3}" type="presParOf" srcId="{41D64697-6E39-5C4A-A402-EFBD9B357B22}" destId="{B14971FA-8479-2647-910A-061B76333F31}" srcOrd="7" destOrd="0" presId="urn:microsoft.com/office/officeart/2005/8/layout/hierarchy3"/>
    <dgm:cxn modelId="{068612C7-7E60-A741-B335-A85E45D2B987}" type="presParOf" srcId="{16F309D4-BE1B-8D44-A2FF-C8BCEAD0DD2A}" destId="{0B92FC74-4071-764A-A2F7-8B7BC1055406}" srcOrd="3" destOrd="0" presId="urn:microsoft.com/office/officeart/2005/8/layout/hierarchy3"/>
    <dgm:cxn modelId="{954606CC-EF77-DF48-915E-1016E5D67D90}" type="presParOf" srcId="{0B92FC74-4071-764A-A2F7-8B7BC1055406}" destId="{7BE5EE51-5566-A34B-BEC5-6D9956914C98}" srcOrd="0" destOrd="0" presId="urn:microsoft.com/office/officeart/2005/8/layout/hierarchy3"/>
    <dgm:cxn modelId="{11B88125-10D7-8A40-A811-E5095919D073}" type="presParOf" srcId="{7BE5EE51-5566-A34B-BEC5-6D9956914C98}" destId="{2FA8F23F-35CD-C54A-8783-629A03772AEC}" srcOrd="0" destOrd="0" presId="urn:microsoft.com/office/officeart/2005/8/layout/hierarchy3"/>
    <dgm:cxn modelId="{380CF49A-CB3B-5840-A970-BF2078373D35}" type="presParOf" srcId="{7BE5EE51-5566-A34B-BEC5-6D9956914C98}" destId="{40C13E8D-350F-9F47-8B40-A10BE8257C70}" srcOrd="1" destOrd="0" presId="urn:microsoft.com/office/officeart/2005/8/layout/hierarchy3"/>
    <dgm:cxn modelId="{E6916313-1326-AB4F-B433-DADDB75C4E4D}" type="presParOf" srcId="{0B92FC74-4071-764A-A2F7-8B7BC1055406}" destId="{4DCBCE0A-FB7A-D648-968B-63FF67ACDB8C}" srcOrd="1" destOrd="0" presId="urn:microsoft.com/office/officeart/2005/8/layout/hierarchy3"/>
    <dgm:cxn modelId="{B8C6BA17-7EDF-724C-80E9-71D9CEF67D6A}" type="presParOf" srcId="{4DCBCE0A-FB7A-D648-968B-63FF67ACDB8C}" destId="{9E84B493-25F5-DF4D-8ECA-FEBA7BDB38A6}" srcOrd="0" destOrd="0" presId="urn:microsoft.com/office/officeart/2005/8/layout/hierarchy3"/>
    <dgm:cxn modelId="{027DDBE4-81BE-6C4C-9C3D-CDED9145A36C}" type="presParOf" srcId="{4DCBCE0A-FB7A-D648-968B-63FF67ACDB8C}" destId="{6383FD56-CDCD-2945-B041-9B16034E0889}" srcOrd="1" destOrd="0" presId="urn:microsoft.com/office/officeart/2005/8/layout/hierarchy3"/>
    <dgm:cxn modelId="{4AAD30E6-9614-CB44-AAEA-531E5695A82D}" type="presParOf" srcId="{4DCBCE0A-FB7A-D648-968B-63FF67ACDB8C}" destId="{3FB2E1DB-7F77-A940-A44D-A2EBF02F6AA8}" srcOrd="2" destOrd="0" presId="urn:microsoft.com/office/officeart/2005/8/layout/hierarchy3"/>
    <dgm:cxn modelId="{BED122D5-B971-5446-AF26-8F675823859A}" type="presParOf" srcId="{4DCBCE0A-FB7A-D648-968B-63FF67ACDB8C}" destId="{84AF0035-BFE5-2044-A7EB-39D21B6B4C23}" srcOrd="3" destOrd="0" presId="urn:microsoft.com/office/officeart/2005/8/layout/hierarchy3"/>
    <dgm:cxn modelId="{6A6BE8FC-6232-2D45-96B8-A5CE401370B2}" type="presParOf" srcId="{4DCBCE0A-FB7A-D648-968B-63FF67ACDB8C}" destId="{6544270F-F7B6-E049-B33D-1DD08D2C8DA4}" srcOrd="4" destOrd="0" presId="urn:microsoft.com/office/officeart/2005/8/layout/hierarchy3"/>
    <dgm:cxn modelId="{43A97682-9378-D94C-ABBB-38A255CEE994}" type="presParOf" srcId="{4DCBCE0A-FB7A-D648-968B-63FF67ACDB8C}" destId="{CD3B654E-F569-E741-95FD-BAEB3D862512}" srcOrd="5" destOrd="0" presId="urn:microsoft.com/office/officeart/2005/8/layout/hierarchy3"/>
    <dgm:cxn modelId="{7F59C962-5363-0244-A619-158BDFB7AB21}" type="presParOf" srcId="{4DCBCE0A-FB7A-D648-968B-63FF67ACDB8C}" destId="{A766C9EF-D2E9-D042-A8CB-171425FDB28D}" srcOrd="6" destOrd="0" presId="urn:microsoft.com/office/officeart/2005/8/layout/hierarchy3"/>
    <dgm:cxn modelId="{1C1E55A9-4BF5-394E-AD16-F7F2631CE403}" type="presParOf" srcId="{4DCBCE0A-FB7A-D648-968B-63FF67ACDB8C}" destId="{E6601567-ED76-D74F-A58C-75189A8C23BF}" srcOrd="7" destOrd="0" presId="urn:microsoft.com/office/officeart/2005/8/layout/hierarchy3"/>
    <dgm:cxn modelId="{5B08A7B7-03A6-CF4A-A1C7-B1EF52F91BCA}" type="presParOf" srcId="{4DCBCE0A-FB7A-D648-968B-63FF67ACDB8C}" destId="{4775D44D-645E-E249-ADDE-D82E8C608398}" srcOrd="8" destOrd="0" presId="urn:microsoft.com/office/officeart/2005/8/layout/hierarchy3"/>
    <dgm:cxn modelId="{56EB2D1C-2B12-2B47-B955-EE4D821DEEDB}" type="presParOf" srcId="{4DCBCE0A-FB7A-D648-968B-63FF67ACDB8C}" destId="{051EB7AD-8953-834A-8746-11F852A289E6}" srcOrd="9" destOrd="0" presId="urn:microsoft.com/office/officeart/2005/8/layout/hierarchy3"/>
    <dgm:cxn modelId="{B2C7A2A1-47B4-D54B-9C46-F5617F71BBB9}" type="presParOf" srcId="{16F309D4-BE1B-8D44-A2FF-C8BCEAD0DD2A}" destId="{719EB4DA-DF2C-5D44-A48A-750440292576}" srcOrd="4" destOrd="0" presId="urn:microsoft.com/office/officeart/2005/8/layout/hierarchy3"/>
    <dgm:cxn modelId="{26706B91-C35C-3945-A057-95EF4907DA2E}" type="presParOf" srcId="{719EB4DA-DF2C-5D44-A48A-750440292576}" destId="{39FC2340-0F74-CF48-9C7B-51D8F6F2215E}" srcOrd="0" destOrd="0" presId="urn:microsoft.com/office/officeart/2005/8/layout/hierarchy3"/>
    <dgm:cxn modelId="{D8F8E265-EB54-024E-A521-7BE8C155002A}" type="presParOf" srcId="{39FC2340-0F74-CF48-9C7B-51D8F6F2215E}" destId="{F22BDB45-6DFC-C945-B9D7-19948CF5FF0A}" srcOrd="0" destOrd="0" presId="urn:microsoft.com/office/officeart/2005/8/layout/hierarchy3"/>
    <dgm:cxn modelId="{973EB64B-7E7A-C342-B562-E69510D1DBC1}" type="presParOf" srcId="{39FC2340-0F74-CF48-9C7B-51D8F6F2215E}" destId="{31ED4CE2-5851-2844-95C2-49FB992474CB}" srcOrd="1" destOrd="0" presId="urn:microsoft.com/office/officeart/2005/8/layout/hierarchy3"/>
    <dgm:cxn modelId="{B731ADC5-7163-4240-899D-0A069B624582}" type="presParOf" srcId="{719EB4DA-DF2C-5D44-A48A-750440292576}" destId="{43DD40E6-F2F7-A242-93A4-9837A08DBC2B}" srcOrd="1" destOrd="0" presId="urn:microsoft.com/office/officeart/2005/8/layout/hierarchy3"/>
    <dgm:cxn modelId="{1C811B37-CAA7-554D-B35A-369300D27E9F}" type="presParOf" srcId="{43DD40E6-F2F7-A242-93A4-9837A08DBC2B}" destId="{9BB28569-8A99-3547-82B9-E7AE7B791E8E}" srcOrd="0" destOrd="0" presId="urn:microsoft.com/office/officeart/2005/8/layout/hierarchy3"/>
    <dgm:cxn modelId="{EA27765D-EDA9-1242-976C-DA83BBA11AC2}" type="presParOf" srcId="{43DD40E6-F2F7-A242-93A4-9837A08DBC2B}" destId="{D6C47007-297A-9149-B858-94EACBFC3B98}" srcOrd="1" destOrd="0" presId="urn:microsoft.com/office/officeart/2005/8/layout/hierarchy3"/>
    <dgm:cxn modelId="{6049B1BA-7644-A545-B32C-E8C41F075451}" type="presParOf" srcId="{43DD40E6-F2F7-A242-93A4-9837A08DBC2B}" destId="{57251F56-0827-F642-9213-6BAF8C24320C}" srcOrd="2" destOrd="0" presId="urn:microsoft.com/office/officeart/2005/8/layout/hierarchy3"/>
    <dgm:cxn modelId="{0786F48B-284E-BE43-8222-CA9D6B91585C}" type="presParOf" srcId="{43DD40E6-F2F7-A242-93A4-9837A08DBC2B}" destId="{18EDD8C2-B42A-184F-9F26-A856FFE0B12C}"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D9B0BE5-F451-AE44-9B29-AE62DFDE9BAD}" type="doc">
      <dgm:prSet loTypeId="urn:microsoft.com/office/officeart/2005/8/layout/list1" loCatId="" qsTypeId="urn:microsoft.com/office/officeart/2005/8/quickstyle/simple1" qsCatId="simple" csTypeId="urn:microsoft.com/office/officeart/2005/8/colors/accent1_2" csCatId="accent1" phldr="1"/>
      <dgm:spPr/>
      <dgm:t>
        <a:bodyPr/>
        <a:lstStyle/>
        <a:p>
          <a:endParaRPr lang="en-US"/>
        </a:p>
      </dgm:t>
    </dgm:pt>
    <dgm:pt modelId="{A93A9E4C-E7D0-FD43-9FB4-8DBFA8D52D70}">
      <dgm:prSet phldrT="[Text]"/>
      <dgm:spPr/>
      <dgm:t>
        <a:bodyPr/>
        <a:lstStyle/>
        <a:p>
          <a:r>
            <a:rPr lang="en-US" dirty="0" err="1"/>
            <a:t>Centralised</a:t>
          </a:r>
          <a:r>
            <a:rPr lang="en-US" dirty="0"/>
            <a:t> Oracle</a:t>
          </a:r>
        </a:p>
      </dgm:t>
    </dgm:pt>
    <dgm:pt modelId="{2A68335A-5EE8-7946-BC00-E2667CBF3CE7}" type="parTrans" cxnId="{5921D81E-C961-5041-A1DF-0F2C4F7553B6}">
      <dgm:prSet/>
      <dgm:spPr/>
      <dgm:t>
        <a:bodyPr/>
        <a:lstStyle/>
        <a:p>
          <a:endParaRPr lang="en-US"/>
        </a:p>
      </dgm:t>
    </dgm:pt>
    <dgm:pt modelId="{9B94EF06-5AEB-7C4E-95D8-9DB2D3C38CA9}" type="sibTrans" cxnId="{5921D81E-C961-5041-A1DF-0F2C4F7553B6}">
      <dgm:prSet/>
      <dgm:spPr/>
      <dgm:t>
        <a:bodyPr/>
        <a:lstStyle/>
        <a:p>
          <a:endParaRPr lang="en-US"/>
        </a:p>
      </dgm:t>
    </dgm:pt>
    <dgm:pt modelId="{E45252E5-FABB-8C40-806C-3AFF4E75FCE9}">
      <dgm:prSet phldrT="[Text]"/>
      <dgm:spPr/>
      <dgm:t>
        <a:bodyPr/>
        <a:lstStyle/>
        <a:p>
          <a:r>
            <a:rPr lang="en-US" dirty="0" err="1"/>
            <a:t>Decentralised</a:t>
          </a:r>
          <a:r>
            <a:rPr lang="en-US" dirty="0"/>
            <a:t> Oracles</a:t>
          </a:r>
        </a:p>
      </dgm:t>
    </dgm:pt>
    <dgm:pt modelId="{EFF56ECC-82CF-9E48-8A6B-9F7BE1AD3166}" type="parTrans" cxnId="{64AB747B-70D3-BB4D-B4F4-9B27A1465802}">
      <dgm:prSet/>
      <dgm:spPr/>
      <dgm:t>
        <a:bodyPr/>
        <a:lstStyle/>
        <a:p>
          <a:endParaRPr lang="en-US"/>
        </a:p>
      </dgm:t>
    </dgm:pt>
    <dgm:pt modelId="{52E1C086-FA7D-2241-9528-6BB9F16171F3}" type="sibTrans" cxnId="{64AB747B-70D3-BB4D-B4F4-9B27A1465802}">
      <dgm:prSet/>
      <dgm:spPr/>
      <dgm:t>
        <a:bodyPr/>
        <a:lstStyle/>
        <a:p>
          <a:endParaRPr lang="en-US"/>
        </a:p>
      </dgm:t>
    </dgm:pt>
    <dgm:pt modelId="{14DA0B7A-897A-7C41-9759-93C7D9C8F0EA}">
      <dgm:prSet phldrT="[Text]"/>
      <dgm:spPr/>
      <dgm:t>
        <a:bodyPr/>
        <a:lstStyle/>
        <a:p>
          <a:r>
            <a:rPr lang="en-US" dirty="0"/>
            <a:t>Voting</a:t>
          </a:r>
        </a:p>
      </dgm:t>
    </dgm:pt>
    <dgm:pt modelId="{D2B86BAF-5275-4D4D-9C82-E31191138425}" type="parTrans" cxnId="{84993AB0-7075-DE4A-A5B4-9CAF94740A6F}">
      <dgm:prSet/>
      <dgm:spPr/>
      <dgm:t>
        <a:bodyPr/>
        <a:lstStyle/>
        <a:p>
          <a:endParaRPr lang="en-US"/>
        </a:p>
      </dgm:t>
    </dgm:pt>
    <dgm:pt modelId="{E0F68FFC-15D7-CF4B-8542-EE341028D7F9}" type="sibTrans" cxnId="{84993AB0-7075-DE4A-A5B4-9CAF94740A6F}">
      <dgm:prSet/>
      <dgm:spPr/>
      <dgm:t>
        <a:bodyPr/>
        <a:lstStyle/>
        <a:p>
          <a:endParaRPr lang="en-US"/>
        </a:p>
      </dgm:t>
    </dgm:pt>
    <dgm:pt modelId="{83FDFBF5-3880-C34C-9F88-A7C7CC3A1EA2}">
      <dgm:prSet phldrT="[Text]"/>
      <dgm:spPr/>
      <dgm:t>
        <a:bodyPr/>
        <a:lstStyle/>
        <a:p>
          <a:r>
            <a:rPr lang="en-US" dirty="0"/>
            <a:t>Reverse Oracle</a:t>
          </a:r>
        </a:p>
      </dgm:t>
    </dgm:pt>
    <dgm:pt modelId="{64C92EAF-A4BF-6240-8D33-6CF3A1E0E8EA}" type="parTrans" cxnId="{DBFDD6D2-463A-244E-921C-BC50EE2E21EB}">
      <dgm:prSet/>
      <dgm:spPr/>
      <dgm:t>
        <a:bodyPr/>
        <a:lstStyle/>
        <a:p>
          <a:endParaRPr lang="en-US"/>
        </a:p>
      </dgm:t>
    </dgm:pt>
    <dgm:pt modelId="{1A6786D2-A08D-E049-AFB2-E72E5DCEFF2F}" type="sibTrans" cxnId="{DBFDD6D2-463A-244E-921C-BC50EE2E21EB}">
      <dgm:prSet/>
      <dgm:spPr/>
      <dgm:t>
        <a:bodyPr/>
        <a:lstStyle/>
        <a:p>
          <a:endParaRPr lang="en-US"/>
        </a:p>
      </dgm:t>
    </dgm:pt>
    <dgm:pt modelId="{AE805E67-4EA8-E44E-977C-CE7A6905D586}">
      <dgm:prSet phldrT="[Text]"/>
      <dgm:spPr/>
      <dgm:t>
        <a:bodyPr/>
        <a:lstStyle/>
        <a:p>
          <a:r>
            <a:rPr lang="en-US" dirty="0"/>
            <a:t>Legal &amp; smart contract pair </a:t>
          </a:r>
        </a:p>
      </dgm:t>
    </dgm:pt>
    <dgm:pt modelId="{F62ACB79-F0B7-564F-A02E-275C0C646988}" type="parTrans" cxnId="{F0593E88-DE20-114A-A748-1E4C4F5E9767}">
      <dgm:prSet/>
      <dgm:spPr/>
      <dgm:t>
        <a:bodyPr/>
        <a:lstStyle/>
        <a:p>
          <a:endParaRPr lang="en-US"/>
        </a:p>
      </dgm:t>
    </dgm:pt>
    <dgm:pt modelId="{20A19F98-901A-124B-B679-5A49740AA061}" type="sibTrans" cxnId="{F0593E88-DE20-114A-A748-1E4C4F5E9767}">
      <dgm:prSet/>
      <dgm:spPr/>
      <dgm:t>
        <a:bodyPr/>
        <a:lstStyle/>
        <a:p>
          <a:endParaRPr lang="en-US"/>
        </a:p>
      </dgm:t>
    </dgm:pt>
    <dgm:pt modelId="{4EE8D05E-A4E5-1243-8B9B-9983FA8372EE}">
      <dgm:prSet phldrT="[Text]"/>
      <dgm:spPr/>
      <dgm:t>
        <a:bodyPr/>
        <a:lstStyle/>
        <a:p>
          <a:r>
            <a:rPr lang="en-US" dirty="0"/>
            <a:t>Introducing external state into blockchain environment through an oracle </a:t>
          </a:r>
        </a:p>
      </dgm:t>
    </dgm:pt>
    <dgm:pt modelId="{79BECABF-9AD7-7540-B6C3-C11556F8E677}" type="parTrans" cxnId="{0F58922A-6BE6-8245-AB47-48401CFE1338}">
      <dgm:prSet/>
      <dgm:spPr/>
      <dgm:t>
        <a:bodyPr/>
        <a:lstStyle/>
        <a:p>
          <a:endParaRPr lang="en-US"/>
        </a:p>
      </dgm:t>
    </dgm:pt>
    <dgm:pt modelId="{97D55AD6-5E27-B74E-BBB0-80229D733427}" type="sibTrans" cxnId="{0F58922A-6BE6-8245-AB47-48401CFE1338}">
      <dgm:prSet/>
      <dgm:spPr/>
      <dgm:t>
        <a:bodyPr/>
        <a:lstStyle/>
        <a:p>
          <a:endParaRPr lang="en-US"/>
        </a:p>
      </dgm:t>
    </dgm:pt>
    <dgm:pt modelId="{3DA67FA2-A5B7-9943-848C-6964B9A4582D}">
      <dgm:prSet phldrT="[Text]"/>
      <dgm:spPr/>
      <dgm:t>
        <a:bodyPr/>
        <a:lstStyle/>
        <a:p>
          <a:r>
            <a:rPr lang="en-US" dirty="0"/>
            <a:t>Introducing external state into blockchain environment through multiple oracles </a:t>
          </a:r>
        </a:p>
      </dgm:t>
    </dgm:pt>
    <dgm:pt modelId="{CC74A22A-DD9D-E845-8FAA-88AF0EED7ED7}" type="parTrans" cxnId="{13E93042-B2D6-DC4F-AFDE-21729E440710}">
      <dgm:prSet/>
      <dgm:spPr/>
      <dgm:t>
        <a:bodyPr/>
        <a:lstStyle/>
        <a:p>
          <a:endParaRPr lang="en-US"/>
        </a:p>
      </dgm:t>
    </dgm:pt>
    <dgm:pt modelId="{679867D5-7138-3347-A798-3B53C48740FF}" type="sibTrans" cxnId="{13E93042-B2D6-DC4F-AFDE-21729E440710}">
      <dgm:prSet/>
      <dgm:spPr/>
      <dgm:t>
        <a:bodyPr/>
        <a:lstStyle/>
        <a:p>
          <a:endParaRPr lang="en-US"/>
        </a:p>
      </dgm:t>
    </dgm:pt>
    <dgm:pt modelId="{D3AEB795-FE68-E646-9D7C-9190D59BF2E6}">
      <dgm:prSet phldrT="[Text]"/>
      <dgm:spPr/>
      <dgm:t>
        <a:bodyPr/>
        <a:lstStyle/>
        <a:p>
          <a:r>
            <a:rPr lang="en-US" dirty="0"/>
            <a:t>A method for a group of blockchain users to make a collective decision </a:t>
          </a:r>
        </a:p>
      </dgm:t>
    </dgm:pt>
    <dgm:pt modelId="{38CBD077-309E-5545-9546-2A8C770923BB}" type="parTrans" cxnId="{E49190C2-E581-D34C-B8BE-652EB5477343}">
      <dgm:prSet/>
      <dgm:spPr/>
      <dgm:t>
        <a:bodyPr/>
        <a:lstStyle/>
        <a:p>
          <a:endParaRPr lang="en-US"/>
        </a:p>
      </dgm:t>
    </dgm:pt>
    <dgm:pt modelId="{5176627F-11F5-D04E-9490-5939105E5EB4}" type="sibTrans" cxnId="{E49190C2-E581-D34C-B8BE-652EB5477343}">
      <dgm:prSet/>
      <dgm:spPr/>
      <dgm:t>
        <a:bodyPr/>
        <a:lstStyle/>
        <a:p>
          <a:endParaRPr lang="en-US"/>
        </a:p>
      </dgm:t>
    </dgm:pt>
    <dgm:pt modelId="{EE9B5B14-4192-B544-8D06-140DBCB1760F}">
      <dgm:prSet phldrT="[Text]"/>
      <dgm:spPr/>
      <dgm:t>
        <a:bodyPr/>
        <a:lstStyle/>
        <a:p>
          <a:r>
            <a:rPr lang="en-US" dirty="0"/>
            <a:t>Introducing blockchain state into external world through an oracle </a:t>
          </a:r>
        </a:p>
      </dgm:t>
    </dgm:pt>
    <dgm:pt modelId="{298DC2EF-5E4E-AB41-BA4A-4885822E4CD9}" type="parTrans" cxnId="{45DDF9A6-129C-CD40-8757-57F97090BC95}">
      <dgm:prSet/>
      <dgm:spPr/>
      <dgm:t>
        <a:bodyPr/>
        <a:lstStyle/>
        <a:p>
          <a:endParaRPr lang="en-US"/>
        </a:p>
      </dgm:t>
    </dgm:pt>
    <dgm:pt modelId="{55157C8F-4897-124A-BD73-1C627EAD8E07}" type="sibTrans" cxnId="{45DDF9A6-129C-CD40-8757-57F97090BC95}">
      <dgm:prSet/>
      <dgm:spPr/>
      <dgm:t>
        <a:bodyPr/>
        <a:lstStyle/>
        <a:p>
          <a:endParaRPr lang="en-US"/>
        </a:p>
      </dgm:t>
    </dgm:pt>
    <dgm:pt modelId="{432D8100-34C0-124F-A21D-3C60EC9490D2}">
      <dgm:prSet phldrT="[Text]"/>
      <dgm:spPr/>
      <dgm:t>
        <a:bodyPr/>
        <a:lstStyle/>
        <a:p>
          <a:r>
            <a:rPr lang="en-US" dirty="0"/>
            <a:t>A bidirectional binding between a legal agreement &amp; corresponding SC that codifies legal agreement </a:t>
          </a:r>
        </a:p>
      </dgm:t>
    </dgm:pt>
    <dgm:pt modelId="{2878E7FB-3156-C94A-A868-8DED3951D37A}" type="parTrans" cxnId="{12A349A2-A1C9-6A4A-9697-95C34121F512}">
      <dgm:prSet/>
      <dgm:spPr/>
      <dgm:t>
        <a:bodyPr/>
        <a:lstStyle/>
        <a:p>
          <a:endParaRPr lang="en-US"/>
        </a:p>
      </dgm:t>
    </dgm:pt>
    <dgm:pt modelId="{BAEF5E5E-31ED-B542-80F8-75137909A283}" type="sibTrans" cxnId="{12A349A2-A1C9-6A4A-9697-95C34121F512}">
      <dgm:prSet/>
      <dgm:spPr/>
      <dgm:t>
        <a:bodyPr/>
        <a:lstStyle/>
        <a:p>
          <a:endParaRPr lang="en-US"/>
        </a:p>
      </dgm:t>
    </dgm:pt>
    <dgm:pt modelId="{E476EC1A-90F9-D34F-BC2A-4A475173752C}" type="pres">
      <dgm:prSet presAssocID="{6D9B0BE5-F451-AE44-9B29-AE62DFDE9BAD}" presName="linear" presStyleCnt="0">
        <dgm:presLayoutVars>
          <dgm:dir/>
          <dgm:animLvl val="lvl"/>
          <dgm:resizeHandles val="exact"/>
        </dgm:presLayoutVars>
      </dgm:prSet>
      <dgm:spPr/>
    </dgm:pt>
    <dgm:pt modelId="{2ECE834A-9631-2546-BFB1-CCE5B9E5A588}" type="pres">
      <dgm:prSet presAssocID="{A93A9E4C-E7D0-FD43-9FB4-8DBFA8D52D70}" presName="parentLin" presStyleCnt="0"/>
      <dgm:spPr/>
    </dgm:pt>
    <dgm:pt modelId="{4613B049-B51C-7340-82B5-EB44FE099D8B}" type="pres">
      <dgm:prSet presAssocID="{A93A9E4C-E7D0-FD43-9FB4-8DBFA8D52D70}" presName="parentLeftMargin" presStyleLbl="node1" presStyleIdx="0" presStyleCnt="5"/>
      <dgm:spPr/>
    </dgm:pt>
    <dgm:pt modelId="{D3FC7012-1DAA-DA46-ADBE-C16636B8D9DC}" type="pres">
      <dgm:prSet presAssocID="{A93A9E4C-E7D0-FD43-9FB4-8DBFA8D52D70}" presName="parentText" presStyleLbl="node1" presStyleIdx="0" presStyleCnt="5">
        <dgm:presLayoutVars>
          <dgm:chMax val="0"/>
          <dgm:bulletEnabled val="1"/>
        </dgm:presLayoutVars>
      </dgm:prSet>
      <dgm:spPr/>
    </dgm:pt>
    <dgm:pt modelId="{D0825032-4896-C941-A954-ECEB1D73C182}" type="pres">
      <dgm:prSet presAssocID="{A93A9E4C-E7D0-FD43-9FB4-8DBFA8D52D70}" presName="negativeSpace" presStyleCnt="0"/>
      <dgm:spPr/>
    </dgm:pt>
    <dgm:pt modelId="{9E2F0AF7-B0CF-DE47-9E2C-AE76E7E9519D}" type="pres">
      <dgm:prSet presAssocID="{A93A9E4C-E7D0-FD43-9FB4-8DBFA8D52D70}" presName="childText" presStyleLbl="conFgAcc1" presStyleIdx="0" presStyleCnt="5">
        <dgm:presLayoutVars>
          <dgm:bulletEnabled val="1"/>
        </dgm:presLayoutVars>
      </dgm:prSet>
      <dgm:spPr/>
    </dgm:pt>
    <dgm:pt modelId="{1E896CF7-71DB-BA46-BCC8-B32C37BCC011}" type="pres">
      <dgm:prSet presAssocID="{9B94EF06-5AEB-7C4E-95D8-9DB2D3C38CA9}" presName="spaceBetweenRectangles" presStyleCnt="0"/>
      <dgm:spPr/>
    </dgm:pt>
    <dgm:pt modelId="{2F774065-091A-C342-B557-9BE67A791241}" type="pres">
      <dgm:prSet presAssocID="{E45252E5-FABB-8C40-806C-3AFF4E75FCE9}" presName="parentLin" presStyleCnt="0"/>
      <dgm:spPr/>
    </dgm:pt>
    <dgm:pt modelId="{4F42647B-5FE1-F944-B9A6-02B15E398CA6}" type="pres">
      <dgm:prSet presAssocID="{E45252E5-FABB-8C40-806C-3AFF4E75FCE9}" presName="parentLeftMargin" presStyleLbl="node1" presStyleIdx="0" presStyleCnt="5"/>
      <dgm:spPr/>
    </dgm:pt>
    <dgm:pt modelId="{24969E15-89B0-DB4E-942C-ADE1E6DD72DA}" type="pres">
      <dgm:prSet presAssocID="{E45252E5-FABB-8C40-806C-3AFF4E75FCE9}" presName="parentText" presStyleLbl="node1" presStyleIdx="1" presStyleCnt="5">
        <dgm:presLayoutVars>
          <dgm:chMax val="0"/>
          <dgm:bulletEnabled val="1"/>
        </dgm:presLayoutVars>
      </dgm:prSet>
      <dgm:spPr/>
    </dgm:pt>
    <dgm:pt modelId="{5AD1F038-EBEF-5245-8003-C66C3C8DAC3C}" type="pres">
      <dgm:prSet presAssocID="{E45252E5-FABB-8C40-806C-3AFF4E75FCE9}" presName="negativeSpace" presStyleCnt="0"/>
      <dgm:spPr/>
    </dgm:pt>
    <dgm:pt modelId="{148FE86C-F7F1-464B-9BC2-28B1D508CF71}" type="pres">
      <dgm:prSet presAssocID="{E45252E5-FABB-8C40-806C-3AFF4E75FCE9}" presName="childText" presStyleLbl="conFgAcc1" presStyleIdx="1" presStyleCnt="5">
        <dgm:presLayoutVars>
          <dgm:bulletEnabled val="1"/>
        </dgm:presLayoutVars>
      </dgm:prSet>
      <dgm:spPr/>
    </dgm:pt>
    <dgm:pt modelId="{923AB11A-1A4C-834B-B05F-23B2763C473D}" type="pres">
      <dgm:prSet presAssocID="{52E1C086-FA7D-2241-9528-6BB9F16171F3}" presName="spaceBetweenRectangles" presStyleCnt="0"/>
      <dgm:spPr/>
    </dgm:pt>
    <dgm:pt modelId="{DA09A063-9B24-C248-8788-BC99DC1183B5}" type="pres">
      <dgm:prSet presAssocID="{14DA0B7A-897A-7C41-9759-93C7D9C8F0EA}" presName="parentLin" presStyleCnt="0"/>
      <dgm:spPr/>
    </dgm:pt>
    <dgm:pt modelId="{9FD7E78C-A84A-B74A-AD8A-66884C7B0B40}" type="pres">
      <dgm:prSet presAssocID="{14DA0B7A-897A-7C41-9759-93C7D9C8F0EA}" presName="parentLeftMargin" presStyleLbl="node1" presStyleIdx="1" presStyleCnt="5"/>
      <dgm:spPr/>
    </dgm:pt>
    <dgm:pt modelId="{AA435AA0-F75A-DB47-8EBE-6CA64DE63185}" type="pres">
      <dgm:prSet presAssocID="{14DA0B7A-897A-7C41-9759-93C7D9C8F0EA}" presName="parentText" presStyleLbl="node1" presStyleIdx="2" presStyleCnt="5">
        <dgm:presLayoutVars>
          <dgm:chMax val="0"/>
          <dgm:bulletEnabled val="1"/>
        </dgm:presLayoutVars>
      </dgm:prSet>
      <dgm:spPr/>
    </dgm:pt>
    <dgm:pt modelId="{11F14FCC-515A-F048-A7E0-3610F67C7C83}" type="pres">
      <dgm:prSet presAssocID="{14DA0B7A-897A-7C41-9759-93C7D9C8F0EA}" presName="negativeSpace" presStyleCnt="0"/>
      <dgm:spPr/>
    </dgm:pt>
    <dgm:pt modelId="{3C94F0F8-7EBF-BD4E-A0AD-A901A507D912}" type="pres">
      <dgm:prSet presAssocID="{14DA0B7A-897A-7C41-9759-93C7D9C8F0EA}" presName="childText" presStyleLbl="conFgAcc1" presStyleIdx="2" presStyleCnt="5">
        <dgm:presLayoutVars>
          <dgm:bulletEnabled val="1"/>
        </dgm:presLayoutVars>
      </dgm:prSet>
      <dgm:spPr/>
    </dgm:pt>
    <dgm:pt modelId="{3BCC1E28-0F08-2747-9E78-F6549F44FA6E}" type="pres">
      <dgm:prSet presAssocID="{E0F68FFC-15D7-CF4B-8542-EE341028D7F9}" presName="spaceBetweenRectangles" presStyleCnt="0"/>
      <dgm:spPr/>
    </dgm:pt>
    <dgm:pt modelId="{471C8B6E-FB50-404F-B174-C29FC5E4EEA9}" type="pres">
      <dgm:prSet presAssocID="{83FDFBF5-3880-C34C-9F88-A7C7CC3A1EA2}" presName="parentLin" presStyleCnt="0"/>
      <dgm:spPr/>
    </dgm:pt>
    <dgm:pt modelId="{64A5510A-84FE-8249-BA76-EF103C6C9647}" type="pres">
      <dgm:prSet presAssocID="{83FDFBF5-3880-C34C-9F88-A7C7CC3A1EA2}" presName="parentLeftMargin" presStyleLbl="node1" presStyleIdx="2" presStyleCnt="5"/>
      <dgm:spPr/>
    </dgm:pt>
    <dgm:pt modelId="{0D425566-CC0E-4340-ACE4-391D78717F61}" type="pres">
      <dgm:prSet presAssocID="{83FDFBF5-3880-C34C-9F88-A7C7CC3A1EA2}" presName="parentText" presStyleLbl="node1" presStyleIdx="3" presStyleCnt="5">
        <dgm:presLayoutVars>
          <dgm:chMax val="0"/>
          <dgm:bulletEnabled val="1"/>
        </dgm:presLayoutVars>
      </dgm:prSet>
      <dgm:spPr/>
    </dgm:pt>
    <dgm:pt modelId="{75B8033C-CCF6-F242-ACF7-58DC0B591607}" type="pres">
      <dgm:prSet presAssocID="{83FDFBF5-3880-C34C-9F88-A7C7CC3A1EA2}" presName="negativeSpace" presStyleCnt="0"/>
      <dgm:spPr/>
    </dgm:pt>
    <dgm:pt modelId="{9C96D635-3AD3-1F42-AD18-0EC08EF7EBDC}" type="pres">
      <dgm:prSet presAssocID="{83FDFBF5-3880-C34C-9F88-A7C7CC3A1EA2}" presName="childText" presStyleLbl="conFgAcc1" presStyleIdx="3" presStyleCnt="5">
        <dgm:presLayoutVars>
          <dgm:bulletEnabled val="1"/>
        </dgm:presLayoutVars>
      </dgm:prSet>
      <dgm:spPr/>
    </dgm:pt>
    <dgm:pt modelId="{BF45CEAA-F6D1-514A-BEFE-B281AF5F332A}" type="pres">
      <dgm:prSet presAssocID="{1A6786D2-A08D-E049-AFB2-E72E5DCEFF2F}" presName="spaceBetweenRectangles" presStyleCnt="0"/>
      <dgm:spPr/>
    </dgm:pt>
    <dgm:pt modelId="{302445E5-B212-B74B-BC22-BBD04711E7EC}" type="pres">
      <dgm:prSet presAssocID="{AE805E67-4EA8-E44E-977C-CE7A6905D586}" presName="parentLin" presStyleCnt="0"/>
      <dgm:spPr/>
    </dgm:pt>
    <dgm:pt modelId="{937FDAAE-016D-BC4E-A685-8EEBB740AD06}" type="pres">
      <dgm:prSet presAssocID="{AE805E67-4EA8-E44E-977C-CE7A6905D586}" presName="parentLeftMargin" presStyleLbl="node1" presStyleIdx="3" presStyleCnt="5"/>
      <dgm:spPr/>
    </dgm:pt>
    <dgm:pt modelId="{7D485CAA-7719-AC4E-8C5B-2C4474330F40}" type="pres">
      <dgm:prSet presAssocID="{AE805E67-4EA8-E44E-977C-CE7A6905D586}" presName="parentText" presStyleLbl="node1" presStyleIdx="4" presStyleCnt="5">
        <dgm:presLayoutVars>
          <dgm:chMax val="0"/>
          <dgm:bulletEnabled val="1"/>
        </dgm:presLayoutVars>
      </dgm:prSet>
      <dgm:spPr/>
    </dgm:pt>
    <dgm:pt modelId="{EA2DA0A2-24D7-C641-99D9-C7944799A41E}" type="pres">
      <dgm:prSet presAssocID="{AE805E67-4EA8-E44E-977C-CE7A6905D586}" presName="negativeSpace" presStyleCnt="0"/>
      <dgm:spPr/>
    </dgm:pt>
    <dgm:pt modelId="{A87A1472-9EB7-E846-9293-8193BC393C82}" type="pres">
      <dgm:prSet presAssocID="{AE805E67-4EA8-E44E-977C-CE7A6905D586}" presName="childText" presStyleLbl="conFgAcc1" presStyleIdx="4" presStyleCnt="5">
        <dgm:presLayoutVars>
          <dgm:bulletEnabled val="1"/>
        </dgm:presLayoutVars>
      </dgm:prSet>
      <dgm:spPr/>
    </dgm:pt>
  </dgm:ptLst>
  <dgm:cxnLst>
    <dgm:cxn modelId="{B7279C10-ADE9-A541-AABC-E6B55B9A3724}" type="presOf" srcId="{AE805E67-4EA8-E44E-977C-CE7A6905D586}" destId="{937FDAAE-016D-BC4E-A685-8EEBB740AD06}" srcOrd="0" destOrd="0" presId="urn:microsoft.com/office/officeart/2005/8/layout/list1"/>
    <dgm:cxn modelId="{CA65E913-B354-C449-AE18-360DC0C3AA5A}" type="presOf" srcId="{4EE8D05E-A4E5-1243-8B9B-9983FA8372EE}" destId="{9E2F0AF7-B0CF-DE47-9E2C-AE76E7E9519D}" srcOrd="0" destOrd="0" presId="urn:microsoft.com/office/officeart/2005/8/layout/list1"/>
    <dgm:cxn modelId="{5921D81E-C961-5041-A1DF-0F2C4F7553B6}" srcId="{6D9B0BE5-F451-AE44-9B29-AE62DFDE9BAD}" destId="{A93A9E4C-E7D0-FD43-9FB4-8DBFA8D52D70}" srcOrd="0" destOrd="0" parTransId="{2A68335A-5EE8-7946-BC00-E2667CBF3CE7}" sibTransId="{9B94EF06-5AEB-7C4E-95D8-9DB2D3C38CA9}"/>
    <dgm:cxn modelId="{C7913525-5BE6-8846-B3C4-2779428C09E4}" type="presOf" srcId="{14DA0B7A-897A-7C41-9759-93C7D9C8F0EA}" destId="{9FD7E78C-A84A-B74A-AD8A-66884C7B0B40}" srcOrd="0" destOrd="0" presId="urn:microsoft.com/office/officeart/2005/8/layout/list1"/>
    <dgm:cxn modelId="{0F58922A-6BE6-8245-AB47-48401CFE1338}" srcId="{A93A9E4C-E7D0-FD43-9FB4-8DBFA8D52D70}" destId="{4EE8D05E-A4E5-1243-8B9B-9983FA8372EE}" srcOrd="0" destOrd="0" parTransId="{79BECABF-9AD7-7540-B6C3-C11556F8E677}" sibTransId="{97D55AD6-5E27-B74E-BBB0-80229D733427}"/>
    <dgm:cxn modelId="{13E93042-B2D6-DC4F-AFDE-21729E440710}" srcId="{E45252E5-FABB-8C40-806C-3AFF4E75FCE9}" destId="{3DA67FA2-A5B7-9943-848C-6964B9A4582D}" srcOrd="0" destOrd="0" parTransId="{CC74A22A-DD9D-E845-8FAA-88AF0EED7ED7}" sibTransId="{679867D5-7138-3347-A798-3B53C48740FF}"/>
    <dgm:cxn modelId="{F0458E44-8235-954E-AA14-6D1F593F5FD0}" type="presOf" srcId="{83FDFBF5-3880-C34C-9F88-A7C7CC3A1EA2}" destId="{64A5510A-84FE-8249-BA76-EF103C6C9647}" srcOrd="0" destOrd="0" presId="urn:microsoft.com/office/officeart/2005/8/layout/list1"/>
    <dgm:cxn modelId="{45E7C257-2F29-994A-9FA6-C1EA0F617394}" type="presOf" srcId="{A93A9E4C-E7D0-FD43-9FB4-8DBFA8D52D70}" destId="{D3FC7012-1DAA-DA46-ADBE-C16636B8D9DC}" srcOrd="1" destOrd="0" presId="urn:microsoft.com/office/officeart/2005/8/layout/list1"/>
    <dgm:cxn modelId="{64AB747B-70D3-BB4D-B4F4-9B27A1465802}" srcId="{6D9B0BE5-F451-AE44-9B29-AE62DFDE9BAD}" destId="{E45252E5-FABB-8C40-806C-3AFF4E75FCE9}" srcOrd="1" destOrd="0" parTransId="{EFF56ECC-82CF-9E48-8A6B-9F7BE1AD3166}" sibTransId="{52E1C086-FA7D-2241-9528-6BB9F16171F3}"/>
    <dgm:cxn modelId="{F0593E88-DE20-114A-A748-1E4C4F5E9767}" srcId="{6D9B0BE5-F451-AE44-9B29-AE62DFDE9BAD}" destId="{AE805E67-4EA8-E44E-977C-CE7A6905D586}" srcOrd="4" destOrd="0" parTransId="{F62ACB79-F0B7-564F-A02E-275C0C646988}" sibTransId="{20A19F98-901A-124B-B679-5A49740AA061}"/>
    <dgm:cxn modelId="{0A36978A-6104-C644-B840-9A33408B80B1}" type="presOf" srcId="{E45252E5-FABB-8C40-806C-3AFF4E75FCE9}" destId="{24969E15-89B0-DB4E-942C-ADE1E6DD72DA}" srcOrd="1" destOrd="0" presId="urn:microsoft.com/office/officeart/2005/8/layout/list1"/>
    <dgm:cxn modelId="{4C639490-A423-0444-8B40-675209269609}" type="presOf" srcId="{6D9B0BE5-F451-AE44-9B29-AE62DFDE9BAD}" destId="{E476EC1A-90F9-D34F-BC2A-4A475173752C}" srcOrd="0" destOrd="0" presId="urn:microsoft.com/office/officeart/2005/8/layout/list1"/>
    <dgm:cxn modelId="{3B674192-0ACE-6A4A-815A-59073DEEDE76}" type="presOf" srcId="{D3AEB795-FE68-E646-9D7C-9190D59BF2E6}" destId="{3C94F0F8-7EBF-BD4E-A0AD-A901A507D912}" srcOrd="0" destOrd="0" presId="urn:microsoft.com/office/officeart/2005/8/layout/list1"/>
    <dgm:cxn modelId="{D09E479C-FD02-8440-AF16-E828727AD487}" type="presOf" srcId="{EE9B5B14-4192-B544-8D06-140DBCB1760F}" destId="{9C96D635-3AD3-1F42-AD18-0EC08EF7EBDC}" srcOrd="0" destOrd="0" presId="urn:microsoft.com/office/officeart/2005/8/layout/list1"/>
    <dgm:cxn modelId="{12A349A2-A1C9-6A4A-9697-95C34121F512}" srcId="{AE805E67-4EA8-E44E-977C-CE7A6905D586}" destId="{432D8100-34C0-124F-A21D-3C60EC9490D2}" srcOrd="0" destOrd="0" parTransId="{2878E7FB-3156-C94A-A868-8DED3951D37A}" sibTransId="{BAEF5E5E-31ED-B542-80F8-75137909A283}"/>
    <dgm:cxn modelId="{45DDF9A6-129C-CD40-8757-57F97090BC95}" srcId="{83FDFBF5-3880-C34C-9F88-A7C7CC3A1EA2}" destId="{EE9B5B14-4192-B544-8D06-140DBCB1760F}" srcOrd="0" destOrd="0" parTransId="{298DC2EF-5E4E-AB41-BA4A-4885822E4CD9}" sibTransId="{55157C8F-4897-124A-BD73-1C627EAD8E07}"/>
    <dgm:cxn modelId="{84993AB0-7075-DE4A-A5B4-9CAF94740A6F}" srcId="{6D9B0BE5-F451-AE44-9B29-AE62DFDE9BAD}" destId="{14DA0B7A-897A-7C41-9759-93C7D9C8F0EA}" srcOrd="2" destOrd="0" parTransId="{D2B86BAF-5275-4D4D-9C82-E31191138425}" sibTransId="{E0F68FFC-15D7-CF4B-8542-EE341028D7F9}"/>
    <dgm:cxn modelId="{6067F5B1-3D2B-0740-BBC2-25250147E68B}" type="presOf" srcId="{E45252E5-FABB-8C40-806C-3AFF4E75FCE9}" destId="{4F42647B-5FE1-F944-B9A6-02B15E398CA6}" srcOrd="0" destOrd="0" presId="urn:microsoft.com/office/officeart/2005/8/layout/list1"/>
    <dgm:cxn modelId="{C2BC73B4-78C3-0B47-9ACE-43608BA2D795}" type="presOf" srcId="{83FDFBF5-3880-C34C-9F88-A7C7CC3A1EA2}" destId="{0D425566-CC0E-4340-ACE4-391D78717F61}" srcOrd="1" destOrd="0" presId="urn:microsoft.com/office/officeart/2005/8/layout/list1"/>
    <dgm:cxn modelId="{E49190C2-E581-D34C-B8BE-652EB5477343}" srcId="{14DA0B7A-897A-7C41-9759-93C7D9C8F0EA}" destId="{D3AEB795-FE68-E646-9D7C-9190D59BF2E6}" srcOrd="0" destOrd="0" parTransId="{38CBD077-309E-5545-9546-2A8C770923BB}" sibTransId="{5176627F-11F5-D04E-9490-5939105E5EB4}"/>
    <dgm:cxn modelId="{DBFDD6D2-463A-244E-921C-BC50EE2E21EB}" srcId="{6D9B0BE5-F451-AE44-9B29-AE62DFDE9BAD}" destId="{83FDFBF5-3880-C34C-9F88-A7C7CC3A1EA2}" srcOrd="3" destOrd="0" parTransId="{64C92EAF-A4BF-6240-8D33-6CF3A1E0E8EA}" sibTransId="{1A6786D2-A08D-E049-AFB2-E72E5DCEFF2F}"/>
    <dgm:cxn modelId="{4BC9ABD5-99B4-3F41-B4B8-194AA06563A9}" type="presOf" srcId="{3DA67FA2-A5B7-9943-848C-6964B9A4582D}" destId="{148FE86C-F7F1-464B-9BC2-28B1D508CF71}" srcOrd="0" destOrd="0" presId="urn:microsoft.com/office/officeart/2005/8/layout/list1"/>
    <dgm:cxn modelId="{6557CEDC-9352-8843-89C5-4D588446F344}" type="presOf" srcId="{14DA0B7A-897A-7C41-9759-93C7D9C8F0EA}" destId="{AA435AA0-F75A-DB47-8EBE-6CA64DE63185}" srcOrd="1" destOrd="0" presId="urn:microsoft.com/office/officeart/2005/8/layout/list1"/>
    <dgm:cxn modelId="{7C49D1E0-5BE5-F247-920E-1C42F281F92E}" type="presOf" srcId="{AE805E67-4EA8-E44E-977C-CE7A6905D586}" destId="{7D485CAA-7719-AC4E-8C5B-2C4474330F40}" srcOrd="1" destOrd="0" presId="urn:microsoft.com/office/officeart/2005/8/layout/list1"/>
    <dgm:cxn modelId="{A3E7DFE4-13BC-7845-A0F2-19993FD93915}" type="presOf" srcId="{432D8100-34C0-124F-A21D-3C60EC9490D2}" destId="{A87A1472-9EB7-E846-9293-8193BC393C82}" srcOrd="0" destOrd="0" presId="urn:microsoft.com/office/officeart/2005/8/layout/list1"/>
    <dgm:cxn modelId="{31ED48F3-9D23-8443-901D-9036893DEB65}" type="presOf" srcId="{A93A9E4C-E7D0-FD43-9FB4-8DBFA8D52D70}" destId="{4613B049-B51C-7340-82B5-EB44FE099D8B}" srcOrd="0" destOrd="0" presId="urn:microsoft.com/office/officeart/2005/8/layout/list1"/>
    <dgm:cxn modelId="{2DC78ED3-E422-9B48-A569-DFEF8B9F8DF1}" type="presParOf" srcId="{E476EC1A-90F9-D34F-BC2A-4A475173752C}" destId="{2ECE834A-9631-2546-BFB1-CCE5B9E5A588}" srcOrd="0" destOrd="0" presId="urn:microsoft.com/office/officeart/2005/8/layout/list1"/>
    <dgm:cxn modelId="{1E942BC2-B3D6-4042-87AA-824C937D032C}" type="presParOf" srcId="{2ECE834A-9631-2546-BFB1-CCE5B9E5A588}" destId="{4613B049-B51C-7340-82B5-EB44FE099D8B}" srcOrd="0" destOrd="0" presId="urn:microsoft.com/office/officeart/2005/8/layout/list1"/>
    <dgm:cxn modelId="{5395878D-3F5D-E742-8645-CB16B93F74A0}" type="presParOf" srcId="{2ECE834A-9631-2546-BFB1-CCE5B9E5A588}" destId="{D3FC7012-1DAA-DA46-ADBE-C16636B8D9DC}" srcOrd="1" destOrd="0" presId="urn:microsoft.com/office/officeart/2005/8/layout/list1"/>
    <dgm:cxn modelId="{5BDCCA3D-2CD5-504E-AA3E-4B986A105686}" type="presParOf" srcId="{E476EC1A-90F9-D34F-BC2A-4A475173752C}" destId="{D0825032-4896-C941-A954-ECEB1D73C182}" srcOrd="1" destOrd="0" presId="urn:microsoft.com/office/officeart/2005/8/layout/list1"/>
    <dgm:cxn modelId="{89FD116B-1CFD-5C48-9317-6AA5976ADE4A}" type="presParOf" srcId="{E476EC1A-90F9-D34F-BC2A-4A475173752C}" destId="{9E2F0AF7-B0CF-DE47-9E2C-AE76E7E9519D}" srcOrd="2" destOrd="0" presId="urn:microsoft.com/office/officeart/2005/8/layout/list1"/>
    <dgm:cxn modelId="{88E50191-F930-4F47-A6B9-5C0A8E38F4C1}" type="presParOf" srcId="{E476EC1A-90F9-D34F-BC2A-4A475173752C}" destId="{1E896CF7-71DB-BA46-BCC8-B32C37BCC011}" srcOrd="3" destOrd="0" presId="urn:microsoft.com/office/officeart/2005/8/layout/list1"/>
    <dgm:cxn modelId="{B6D6C9A7-BA09-5544-AA70-B2919A10722D}" type="presParOf" srcId="{E476EC1A-90F9-D34F-BC2A-4A475173752C}" destId="{2F774065-091A-C342-B557-9BE67A791241}" srcOrd="4" destOrd="0" presId="urn:microsoft.com/office/officeart/2005/8/layout/list1"/>
    <dgm:cxn modelId="{550A677D-C8EA-E142-8E96-50E8A5C88297}" type="presParOf" srcId="{2F774065-091A-C342-B557-9BE67A791241}" destId="{4F42647B-5FE1-F944-B9A6-02B15E398CA6}" srcOrd="0" destOrd="0" presId="urn:microsoft.com/office/officeart/2005/8/layout/list1"/>
    <dgm:cxn modelId="{5DFCA4A0-9BFD-F941-85F4-3903370AC7BB}" type="presParOf" srcId="{2F774065-091A-C342-B557-9BE67A791241}" destId="{24969E15-89B0-DB4E-942C-ADE1E6DD72DA}" srcOrd="1" destOrd="0" presId="urn:microsoft.com/office/officeart/2005/8/layout/list1"/>
    <dgm:cxn modelId="{0DD499C2-FBBB-B94A-BDFF-3C884B20662E}" type="presParOf" srcId="{E476EC1A-90F9-D34F-BC2A-4A475173752C}" destId="{5AD1F038-EBEF-5245-8003-C66C3C8DAC3C}" srcOrd="5" destOrd="0" presId="urn:microsoft.com/office/officeart/2005/8/layout/list1"/>
    <dgm:cxn modelId="{B4F36912-6009-884A-B60D-12C5033AE7DF}" type="presParOf" srcId="{E476EC1A-90F9-D34F-BC2A-4A475173752C}" destId="{148FE86C-F7F1-464B-9BC2-28B1D508CF71}" srcOrd="6" destOrd="0" presId="urn:microsoft.com/office/officeart/2005/8/layout/list1"/>
    <dgm:cxn modelId="{E8111B2C-9FF1-B148-9C7E-8832C3D88DD1}" type="presParOf" srcId="{E476EC1A-90F9-D34F-BC2A-4A475173752C}" destId="{923AB11A-1A4C-834B-B05F-23B2763C473D}" srcOrd="7" destOrd="0" presId="urn:microsoft.com/office/officeart/2005/8/layout/list1"/>
    <dgm:cxn modelId="{0DBF94E4-3C40-9344-9845-C6435F6FF221}" type="presParOf" srcId="{E476EC1A-90F9-D34F-BC2A-4A475173752C}" destId="{DA09A063-9B24-C248-8788-BC99DC1183B5}" srcOrd="8" destOrd="0" presId="urn:microsoft.com/office/officeart/2005/8/layout/list1"/>
    <dgm:cxn modelId="{CDA9BD59-0234-7142-B246-3EA4D3750A55}" type="presParOf" srcId="{DA09A063-9B24-C248-8788-BC99DC1183B5}" destId="{9FD7E78C-A84A-B74A-AD8A-66884C7B0B40}" srcOrd="0" destOrd="0" presId="urn:microsoft.com/office/officeart/2005/8/layout/list1"/>
    <dgm:cxn modelId="{C4819463-86E3-354A-982D-7E70C4DEBAF7}" type="presParOf" srcId="{DA09A063-9B24-C248-8788-BC99DC1183B5}" destId="{AA435AA0-F75A-DB47-8EBE-6CA64DE63185}" srcOrd="1" destOrd="0" presId="urn:microsoft.com/office/officeart/2005/8/layout/list1"/>
    <dgm:cxn modelId="{59541DB3-E5EB-7242-ADCA-D8ECBA7C8244}" type="presParOf" srcId="{E476EC1A-90F9-D34F-BC2A-4A475173752C}" destId="{11F14FCC-515A-F048-A7E0-3610F67C7C83}" srcOrd="9" destOrd="0" presId="urn:microsoft.com/office/officeart/2005/8/layout/list1"/>
    <dgm:cxn modelId="{308033D3-2A29-1D43-B1B5-EBEBE331099D}" type="presParOf" srcId="{E476EC1A-90F9-D34F-BC2A-4A475173752C}" destId="{3C94F0F8-7EBF-BD4E-A0AD-A901A507D912}" srcOrd="10" destOrd="0" presId="urn:microsoft.com/office/officeart/2005/8/layout/list1"/>
    <dgm:cxn modelId="{53D7584F-9228-734F-9A63-6E742DCBC5EA}" type="presParOf" srcId="{E476EC1A-90F9-D34F-BC2A-4A475173752C}" destId="{3BCC1E28-0F08-2747-9E78-F6549F44FA6E}" srcOrd="11" destOrd="0" presId="urn:microsoft.com/office/officeart/2005/8/layout/list1"/>
    <dgm:cxn modelId="{4126F8CD-5453-1146-ACF5-B29F28FCCF26}" type="presParOf" srcId="{E476EC1A-90F9-D34F-BC2A-4A475173752C}" destId="{471C8B6E-FB50-404F-B174-C29FC5E4EEA9}" srcOrd="12" destOrd="0" presId="urn:microsoft.com/office/officeart/2005/8/layout/list1"/>
    <dgm:cxn modelId="{A94533F1-7283-D24F-94B5-19C90D432E63}" type="presParOf" srcId="{471C8B6E-FB50-404F-B174-C29FC5E4EEA9}" destId="{64A5510A-84FE-8249-BA76-EF103C6C9647}" srcOrd="0" destOrd="0" presId="urn:microsoft.com/office/officeart/2005/8/layout/list1"/>
    <dgm:cxn modelId="{CDC716A0-A9C3-C741-9DD9-116C4569CF79}" type="presParOf" srcId="{471C8B6E-FB50-404F-B174-C29FC5E4EEA9}" destId="{0D425566-CC0E-4340-ACE4-391D78717F61}" srcOrd="1" destOrd="0" presId="urn:microsoft.com/office/officeart/2005/8/layout/list1"/>
    <dgm:cxn modelId="{EEAA70D2-1CFA-B242-9FC7-E2188A78D291}" type="presParOf" srcId="{E476EC1A-90F9-D34F-BC2A-4A475173752C}" destId="{75B8033C-CCF6-F242-ACF7-58DC0B591607}" srcOrd="13" destOrd="0" presId="urn:microsoft.com/office/officeart/2005/8/layout/list1"/>
    <dgm:cxn modelId="{B676D590-EB0E-6749-A16B-88F296E21117}" type="presParOf" srcId="{E476EC1A-90F9-D34F-BC2A-4A475173752C}" destId="{9C96D635-3AD3-1F42-AD18-0EC08EF7EBDC}" srcOrd="14" destOrd="0" presId="urn:microsoft.com/office/officeart/2005/8/layout/list1"/>
    <dgm:cxn modelId="{3AE033C9-1694-3940-99E8-6010BFF7F16F}" type="presParOf" srcId="{E476EC1A-90F9-D34F-BC2A-4A475173752C}" destId="{BF45CEAA-F6D1-514A-BEFE-B281AF5F332A}" srcOrd="15" destOrd="0" presId="urn:microsoft.com/office/officeart/2005/8/layout/list1"/>
    <dgm:cxn modelId="{F8B4A3B5-21AA-554D-BBBC-5C239E00D124}" type="presParOf" srcId="{E476EC1A-90F9-D34F-BC2A-4A475173752C}" destId="{302445E5-B212-B74B-BC22-BBD04711E7EC}" srcOrd="16" destOrd="0" presId="urn:microsoft.com/office/officeart/2005/8/layout/list1"/>
    <dgm:cxn modelId="{674F2B08-181E-8A40-AC82-21CB48F8F83D}" type="presParOf" srcId="{302445E5-B212-B74B-BC22-BBD04711E7EC}" destId="{937FDAAE-016D-BC4E-A685-8EEBB740AD06}" srcOrd="0" destOrd="0" presId="urn:microsoft.com/office/officeart/2005/8/layout/list1"/>
    <dgm:cxn modelId="{93B22B74-6C31-624D-B4D6-BA76C60CA4F1}" type="presParOf" srcId="{302445E5-B212-B74B-BC22-BBD04711E7EC}" destId="{7D485CAA-7719-AC4E-8C5B-2C4474330F40}" srcOrd="1" destOrd="0" presId="urn:microsoft.com/office/officeart/2005/8/layout/list1"/>
    <dgm:cxn modelId="{6A395A68-32EF-1344-BC24-BF4907A9C11A}" type="presParOf" srcId="{E476EC1A-90F9-D34F-BC2A-4A475173752C}" destId="{EA2DA0A2-24D7-C641-99D9-C7944799A41E}" srcOrd="17" destOrd="0" presId="urn:microsoft.com/office/officeart/2005/8/layout/list1"/>
    <dgm:cxn modelId="{B59D7A1D-3BEB-5A41-B898-36393A07C8D6}" type="presParOf" srcId="{E476EC1A-90F9-D34F-BC2A-4A475173752C}" destId="{A87A1472-9EB7-E846-9293-8193BC393C82}"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D9B0BE5-F451-AE44-9B29-AE62DFDE9BAD}" type="doc">
      <dgm:prSet loTypeId="urn:microsoft.com/office/officeart/2005/8/layout/list1" loCatId="" qsTypeId="urn:microsoft.com/office/officeart/2005/8/quickstyle/simple1" qsCatId="simple" csTypeId="urn:microsoft.com/office/officeart/2005/8/colors/accent1_2" csCatId="accent1" phldr="1"/>
      <dgm:spPr/>
      <dgm:t>
        <a:bodyPr/>
        <a:lstStyle/>
        <a:p>
          <a:endParaRPr lang="en-US"/>
        </a:p>
      </dgm:t>
    </dgm:pt>
    <dgm:pt modelId="{A93A9E4C-E7D0-FD43-9FB4-8DBFA8D52D70}">
      <dgm:prSet phldrT="[Text]"/>
      <dgm:spPr/>
      <dgm:t>
        <a:bodyPr/>
        <a:lstStyle/>
        <a:p>
          <a:r>
            <a:rPr lang="en-US" dirty="0"/>
            <a:t>Encrypting On-chain Data</a:t>
          </a:r>
        </a:p>
      </dgm:t>
    </dgm:pt>
    <dgm:pt modelId="{2A68335A-5EE8-7946-BC00-E2667CBF3CE7}" type="parTrans" cxnId="{5921D81E-C961-5041-A1DF-0F2C4F7553B6}">
      <dgm:prSet/>
      <dgm:spPr/>
      <dgm:t>
        <a:bodyPr/>
        <a:lstStyle/>
        <a:p>
          <a:endParaRPr lang="en-US"/>
        </a:p>
      </dgm:t>
    </dgm:pt>
    <dgm:pt modelId="{9B94EF06-5AEB-7C4E-95D8-9DB2D3C38CA9}" type="sibTrans" cxnId="{5921D81E-C961-5041-A1DF-0F2C4F7553B6}">
      <dgm:prSet/>
      <dgm:spPr/>
      <dgm:t>
        <a:bodyPr/>
        <a:lstStyle/>
        <a:p>
          <a:endParaRPr lang="en-US"/>
        </a:p>
      </dgm:t>
    </dgm:pt>
    <dgm:pt modelId="{E45252E5-FABB-8C40-806C-3AFF4E75FCE9}">
      <dgm:prSet phldrT="[Text]"/>
      <dgm:spPr/>
      <dgm:t>
        <a:bodyPr/>
        <a:lstStyle/>
        <a:p>
          <a:r>
            <a:rPr lang="en-US" dirty="0" err="1"/>
            <a:t>Tokenisation</a:t>
          </a:r>
          <a:r>
            <a:rPr lang="en-US" dirty="0"/>
            <a:t> </a:t>
          </a:r>
        </a:p>
      </dgm:t>
    </dgm:pt>
    <dgm:pt modelId="{EFF56ECC-82CF-9E48-8A6B-9F7BE1AD3166}" type="parTrans" cxnId="{64AB747B-70D3-BB4D-B4F4-9B27A1465802}">
      <dgm:prSet/>
      <dgm:spPr/>
      <dgm:t>
        <a:bodyPr/>
        <a:lstStyle/>
        <a:p>
          <a:endParaRPr lang="en-US"/>
        </a:p>
      </dgm:t>
    </dgm:pt>
    <dgm:pt modelId="{52E1C086-FA7D-2241-9528-6BB9F16171F3}" type="sibTrans" cxnId="{64AB747B-70D3-BB4D-B4F4-9B27A1465802}">
      <dgm:prSet/>
      <dgm:spPr/>
      <dgm:t>
        <a:bodyPr/>
        <a:lstStyle/>
        <a:p>
          <a:endParaRPr lang="en-US"/>
        </a:p>
      </dgm:t>
    </dgm:pt>
    <dgm:pt modelId="{14DA0B7A-897A-7C41-9759-93C7D9C8F0EA}">
      <dgm:prSet phldrT="[Text]"/>
      <dgm:spPr/>
      <dgm:t>
        <a:bodyPr/>
        <a:lstStyle/>
        <a:p>
          <a:r>
            <a:rPr lang="en-US" dirty="0"/>
            <a:t>Off-chain Data Storage</a:t>
          </a:r>
        </a:p>
      </dgm:t>
    </dgm:pt>
    <dgm:pt modelId="{D2B86BAF-5275-4D4D-9C82-E31191138425}" type="parTrans" cxnId="{84993AB0-7075-DE4A-A5B4-9CAF94740A6F}">
      <dgm:prSet/>
      <dgm:spPr/>
      <dgm:t>
        <a:bodyPr/>
        <a:lstStyle/>
        <a:p>
          <a:endParaRPr lang="en-US"/>
        </a:p>
      </dgm:t>
    </dgm:pt>
    <dgm:pt modelId="{E0F68FFC-15D7-CF4B-8542-EE341028D7F9}" type="sibTrans" cxnId="{84993AB0-7075-DE4A-A5B4-9CAF94740A6F}">
      <dgm:prSet/>
      <dgm:spPr/>
      <dgm:t>
        <a:bodyPr/>
        <a:lstStyle/>
        <a:p>
          <a:endParaRPr lang="en-US"/>
        </a:p>
      </dgm:t>
    </dgm:pt>
    <dgm:pt modelId="{83FDFBF5-3880-C34C-9F88-A7C7CC3A1EA2}">
      <dgm:prSet phldrT="[Text]"/>
      <dgm:spPr/>
      <dgm:t>
        <a:bodyPr/>
        <a:lstStyle/>
        <a:p>
          <a:r>
            <a:rPr lang="en-US" dirty="0"/>
            <a:t>State Channel</a:t>
          </a:r>
        </a:p>
      </dgm:t>
    </dgm:pt>
    <dgm:pt modelId="{64C92EAF-A4BF-6240-8D33-6CF3A1E0E8EA}" type="parTrans" cxnId="{DBFDD6D2-463A-244E-921C-BC50EE2E21EB}">
      <dgm:prSet/>
      <dgm:spPr/>
      <dgm:t>
        <a:bodyPr/>
        <a:lstStyle/>
        <a:p>
          <a:endParaRPr lang="en-US"/>
        </a:p>
      </dgm:t>
    </dgm:pt>
    <dgm:pt modelId="{1A6786D2-A08D-E049-AFB2-E72E5DCEFF2F}" type="sibTrans" cxnId="{DBFDD6D2-463A-244E-921C-BC50EE2E21EB}">
      <dgm:prSet/>
      <dgm:spPr/>
      <dgm:t>
        <a:bodyPr/>
        <a:lstStyle/>
        <a:p>
          <a:endParaRPr lang="en-US"/>
        </a:p>
      </dgm:t>
    </dgm:pt>
    <dgm:pt modelId="{4EE8D05E-A4E5-1243-8B9B-9983FA8372EE}">
      <dgm:prSet phldrT="[Text]"/>
      <dgm:spPr/>
      <dgm:t>
        <a:bodyPr/>
        <a:lstStyle/>
        <a:p>
          <a:r>
            <a:rPr lang="en-US" dirty="0"/>
            <a:t>Ensuring confidentiality of data stored on blockchain by encrypting it </a:t>
          </a:r>
        </a:p>
      </dgm:t>
    </dgm:pt>
    <dgm:pt modelId="{79BECABF-9AD7-7540-B6C3-C11556F8E677}" type="parTrans" cxnId="{0F58922A-6BE6-8245-AB47-48401CFE1338}">
      <dgm:prSet/>
      <dgm:spPr/>
      <dgm:t>
        <a:bodyPr/>
        <a:lstStyle/>
        <a:p>
          <a:endParaRPr lang="en-US"/>
        </a:p>
      </dgm:t>
    </dgm:pt>
    <dgm:pt modelId="{97D55AD6-5E27-B74E-BBB0-80229D733427}" type="sibTrans" cxnId="{0F58922A-6BE6-8245-AB47-48401CFE1338}">
      <dgm:prSet/>
      <dgm:spPr/>
      <dgm:t>
        <a:bodyPr/>
        <a:lstStyle/>
        <a:p>
          <a:endParaRPr lang="en-US"/>
        </a:p>
      </dgm:t>
    </dgm:pt>
    <dgm:pt modelId="{3DA67FA2-A5B7-9943-848C-6964B9A4582D}">
      <dgm:prSet phldrT="[Text]"/>
      <dgm:spPr/>
      <dgm:t>
        <a:bodyPr/>
        <a:lstStyle/>
        <a:p>
          <a:r>
            <a:rPr lang="en-US" dirty="0"/>
            <a:t>Using tokens on blockchain to represent transferable digital or physical assets</a:t>
          </a:r>
        </a:p>
      </dgm:t>
    </dgm:pt>
    <dgm:pt modelId="{CC74A22A-DD9D-E845-8FAA-88AF0EED7ED7}" type="parTrans" cxnId="{13E93042-B2D6-DC4F-AFDE-21729E440710}">
      <dgm:prSet/>
      <dgm:spPr/>
      <dgm:t>
        <a:bodyPr/>
        <a:lstStyle/>
        <a:p>
          <a:endParaRPr lang="en-US"/>
        </a:p>
      </dgm:t>
    </dgm:pt>
    <dgm:pt modelId="{679867D5-7138-3347-A798-3B53C48740FF}" type="sibTrans" cxnId="{13E93042-B2D6-DC4F-AFDE-21729E440710}">
      <dgm:prSet/>
      <dgm:spPr/>
      <dgm:t>
        <a:bodyPr/>
        <a:lstStyle/>
        <a:p>
          <a:endParaRPr lang="en-US"/>
        </a:p>
      </dgm:t>
    </dgm:pt>
    <dgm:pt modelId="{D3AEB795-FE68-E646-9D7C-9190D59BF2E6}">
      <dgm:prSet phldrT="[Text]"/>
      <dgm:spPr/>
      <dgm:t>
        <a:bodyPr/>
        <a:lstStyle/>
        <a:p>
          <a:r>
            <a:rPr lang="en-US" dirty="0"/>
            <a:t>Using hashing to ensure integrity of arbitrarily large datasets which may not fit directly on blockchain </a:t>
          </a:r>
        </a:p>
      </dgm:t>
    </dgm:pt>
    <dgm:pt modelId="{38CBD077-309E-5545-9546-2A8C770923BB}" type="parTrans" cxnId="{E49190C2-E581-D34C-B8BE-652EB5477343}">
      <dgm:prSet/>
      <dgm:spPr/>
      <dgm:t>
        <a:bodyPr/>
        <a:lstStyle/>
        <a:p>
          <a:endParaRPr lang="en-US"/>
        </a:p>
      </dgm:t>
    </dgm:pt>
    <dgm:pt modelId="{5176627F-11F5-D04E-9490-5939105E5EB4}" type="sibTrans" cxnId="{E49190C2-E581-D34C-B8BE-652EB5477343}">
      <dgm:prSet/>
      <dgm:spPr/>
      <dgm:t>
        <a:bodyPr/>
        <a:lstStyle/>
        <a:p>
          <a:endParaRPr lang="en-US"/>
        </a:p>
      </dgm:t>
    </dgm:pt>
    <dgm:pt modelId="{EE9B5B14-4192-B544-8D06-140DBCB1760F}">
      <dgm:prSet phldrT="[Text]"/>
      <dgm:spPr/>
      <dgm:t>
        <a:bodyPr/>
        <a:lstStyle/>
        <a:p>
          <a:r>
            <a:rPr lang="en-US" dirty="0"/>
            <a:t>TXs that are too small in value or require much shorter latency, are performed off-chain with periodic recording of net TX settlements on-chain </a:t>
          </a:r>
        </a:p>
      </dgm:t>
    </dgm:pt>
    <dgm:pt modelId="{298DC2EF-5E4E-AB41-BA4A-4885822E4CD9}" type="parTrans" cxnId="{45DDF9A6-129C-CD40-8757-57F97090BC95}">
      <dgm:prSet/>
      <dgm:spPr/>
      <dgm:t>
        <a:bodyPr/>
        <a:lstStyle/>
        <a:p>
          <a:endParaRPr lang="en-US"/>
        </a:p>
      </dgm:t>
    </dgm:pt>
    <dgm:pt modelId="{55157C8F-4897-124A-BD73-1C627EAD8E07}" type="sibTrans" cxnId="{45DDF9A6-129C-CD40-8757-57F97090BC95}">
      <dgm:prSet/>
      <dgm:spPr/>
      <dgm:t>
        <a:bodyPr/>
        <a:lstStyle/>
        <a:p>
          <a:endParaRPr lang="en-US"/>
        </a:p>
      </dgm:t>
    </dgm:pt>
    <dgm:pt modelId="{E476EC1A-90F9-D34F-BC2A-4A475173752C}" type="pres">
      <dgm:prSet presAssocID="{6D9B0BE5-F451-AE44-9B29-AE62DFDE9BAD}" presName="linear" presStyleCnt="0">
        <dgm:presLayoutVars>
          <dgm:dir/>
          <dgm:animLvl val="lvl"/>
          <dgm:resizeHandles val="exact"/>
        </dgm:presLayoutVars>
      </dgm:prSet>
      <dgm:spPr/>
    </dgm:pt>
    <dgm:pt modelId="{2ECE834A-9631-2546-BFB1-CCE5B9E5A588}" type="pres">
      <dgm:prSet presAssocID="{A93A9E4C-E7D0-FD43-9FB4-8DBFA8D52D70}" presName="parentLin" presStyleCnt="0"/>
      <dgm:spPr/>
    </dgm:pt>
    <dgm:pt modelId="{4613B049-B51C-7340-82B5-EB44FE099D8B}" type="pres">
      <dgm:prSet presAssocID="{A93A9E4C-E7D0-FD43-9FB4-8DBFA8D52D70}" presName="parentLeftMargin" presStyleLbl="node1" presStyleIdx="0" presStyleCnt="4"/>
      <dgm:spPr/>
    </dgm:pt>
    <dgm:pt modelId="{D3FC7012-1DAA-DA46-ADBE-C16636B8D9DC}" type="pres">
      <dgm:prSet presAssocID="{A93A9E4C-E7D0-FD43-9FB4-8DBFA8D52D70}" presName="parentText" presStyleLbl="node1" presStyleIdx="0" presStyleCnt="4">
        <dgm:presLayoutVars>
          <dgm:chMax val="0"/>
          <dgm:bulletEnabled val="1"/>
        </dgm:presLayoutVars>
      </dgm:prSet>
      <dgm:spPr/>
    </dgm:pt>
    <dgm:pt modelId="{D0825032-4896-C941-A954-ECEB1D73C182}" type="pres">
      <dgm:prSet presAssocID="{A93A9E4C-E7D0-FD43-9FB4-8DBFA8D52D70}" presName="negativeSpace" presStyleCnt="0"/>
      <dgm:spPr/>
    </dgm:pt>
    <dgm:pt modelId="{9E2F0AF7-B0CF-DE47-9E2C-AE76E7E9519D}" type="pres">
      <dgm:prSet presAssocID="{A93A9E4C-E7D0-FD43-9FB4-8DBFA8D52D70}" presName="childText" presStyleLbl="conFgAcc1" presStyleIdx="0" presStyleCnt="4">
        <dgm:presLayoutVars>
          <dgm:bulletEnabled val="1"/>
        </dgm:presLayoutVars>
      </dgm:prSet>
      <dgm:spPr/>
    </dgm:pt>
    <dgm:pt modelId="{1E896CF7-71DB-BA46-BCC8-B32C37BCC011}" type="pres">
      <dgm:prSet presAssocID="{9B94EF06-5AEB-7C4E-95D8-9DB2D3C38CA9}" presName="spaceBetweenRectangles" presStyleCnt="0"/>
      <dgm:spPr/>
    </dgm:pt>
    <dgm:pt modelId="{2F774065-091A-C342-B557-9BE67A791241}" type="pres">
      <dgm:prSet presAssocID="{E45252E5-FABB-8C40-806C-3AFF4E75FCE9}" presName="parentLin" presStyleCnt="0"/>
      <dgm:spPr/>
    </dgm:pt>
    <dgm:pt modelId="{4F42647B-5FE1-F944-B9A6-02B15E398CA6}" type="pres">
      <dgm:prSet presAssocID="{E45252E5-FABB-8C40-806C-3AFF4E75FCE9}" presName="parentLeftMargin" presStyleLbl="node1" presStyleIdx="0" presStyleCnt="4"/>
      <dgm:spPr/>
    </dgm:pt>
    <dgm:pt modelId="{24969E15-89B0-DB4E-942C-ADE1E6DD72DA}" type="pres">
      <dgm:prSet presAssocID="{E45252E5-FABB-8C40-806C-3AFF4E75FCE9}" presName="parentText" presStyleLbl="node1" presStyleIdx="1" presStyleCnt="4">
        <dgm:presLayoutVars>
          <dgm:chMax val="0"/>
          <dgm:bulletEnabled val="1"/>
        </dgm:presLayoutVars>
      </dgm:prSet>
      <dgm:spPr/>
    </dgm:pt>
    <dgm:pt modelId="{5AD1F038-EBEF-5245-8003-C66C3C8DAC3C}" type="pres">
      <dgm:prSet presAssocID="{E45252E5-FABB-8C40-806C-3AFF4E75FCE9}" presName="negativeSpace" presStyleCnt="0"/>
      <dgm:spPr/>
    </dgm:pt>
    <dgm:pt modelId="{148FE86C-F7F1-464B-9BC2-28B1D508CF71}" type="pres">
      <dgm:prSet presAssocID="{E45252E5-FABB-8C40-806C-3AFF4E75FCE9}" presName="childText" presStyleLbl="conFgAcc1" presStyleIdx="1" presStyleCnt="4">
        <dgm:presLayoutVars>
          <dgm:bulletEnabled val="1"/>
        </dgm:presLayoutVars>
      </dgm:prSet>
      <dgm:spPr/>
    </dgm:pt>
    <dgm:pt modelId="{923AB11A-1A4C-834B-B05F-23B2763C473D}" type="pres">
      <dgm:prSet presAssocID="{52E1C086-FA7D-2241-9528-6BB9F16171F3}" presName="spaceBetweenRectangles" presStyleCnt="0"/>
      <dgm:spPr/>
    </dgm:pt>
    <dgm:pt modelId="{DA09A063-9B24-C248-8788-BC99DC1183B5}" type="pres">
      <dgm:prSet presAssocID="{14DA0B7A-897A-7C41-9759-93C7D9C8F0EA}" presName="parentLin" presStyleCnt="0"/>
      <dgm:spPr/>
    </dgm:pt>
    <dgm:pt modelId="{9FD7E78C-A84A-B74A-AD8A-66884C7B0B40}" type="pres">
      <dgm:prSet presAssocID="{14DA0B7A-897A-7C41-9759-93C7D9C8F0EA}" presName="parentLeftMargin" presStyleLbl="node1" presStyleIdx="1" presStyleCnt="4"/>
      <dgm:spPr/>
    </dgm:pt>
    <dgm:pt modelId="{AA435AA0-F75A-DB47-8EBE-6CA64DE63185}" type="pres">
      <dgm:prSet presAssocID="{14DA0B7A-897A-7C41-9759-93C7D9C8F0EA}" presName="parentText" presStyleLbl="node1" presStyleIdx="2" presStyleCnt="4">
        <dgm:presLayoutVars>
          <dgm:chMax val="0"/>
          <dgm:bulletEnabled val="1"/>
        </dgm:presLayoutVars>
      </dgm:prSet>
      <dgm:spPr/>
    </dgm:pt>
    <dgm:pt modelId="{11F14FCC-515A-F048-A7E0-3610F67C7C83}" type="pres">
      <dgm:prSet presAssocID="{14DA0B7A-897A-7C41-9759-93C7D9C8F0EA}" presName="negativeSpace" presStyleCnt="0"/>
      <dgm:spPr/>
    </dgm:pt>
    <dgm:pt modelId="{3C94F0F8-7EBF-BD4E-A0AD-A901A507D912}" type="pres">
      <dgm:prSet presAssocID="{14DA0B7A-897A-7C41-9759-93C7D9C8F0EA}" presName="childText" presStyleLbl="conFgAcc1" presStyleIdx="2" presStyleCnt="4">
        <dgm:presLayoutVars>
          <dgm:bulletEnabled val="1"/>
        </dgm:presLayoutVars>
      </dgm:prSet>
      <dgm:spPr/>
    </dgm:pt>
    <dgm:pt modelId="{3BCC1E28-0F08-2747-9E78-F6549F44FA6E}" type="pres">
      <dgm:prSet presAssocID="{E0F68FFC-15D7-CF4B-8542-EE341028D7F9}" presName="spaceBetweenRectangles" presStyleCnt="0"/>
      <dgm:spPr/>
    </dgm:pt>
    <dgm:pt modelId="{471C8B6E-FB50-404F-B174-C29FC5E4EEA9}" type="pres">
      <dgm:prSet presAssocID="{83FDFBF5-3880-C34C-9F88-A7C7CC3A1EA2}" presName="parentLin" presStyleCnt="0"/>
      <dgm:spPr/>
    </dgm:pt>
    <dgm:pt modelId="{64A5510A-84FE-8249-BA76-EF103C6C9647}" type="pres">
      <dgm:prSet presAssocID="{83FDFBF5-3880-C34C-9F88-A7C7CC3A1EA2}" presName="parentLeftMargin" presStyleLbl="node1" presStyleIdx="2" presStyleCnt="4"/>
      <dgm:spPr/>
    </dgm:pt>
    <dgm:pt modelId="{0D425566-CC0E-4340-ACE4-391D78717F61}" type="pres">
      <dgm:prSet presAssocID="{83FDFBF5-3880-C34C-9F88-A7C7CC3A1EA2}" presName="parentText" presStyleLbl="node1" presStyleIdx="3" presStyleCnt="4">
        <dgm:presLayoutVars>
          <dgm:chMax val="0"/>
          <dgm:bulletEnabled val="1"/>
        </dgm:presLayoutVars>
      </dgm:prSet>
      <dgm:spPr/>
    </dgm:pt>
    <dgm:pt modelId="{75B8033C-CCF6-F242-ACF7-58DC0B591607}" type="pres">
      <dgm:prSet presAssocID="{83FDFBF5-3880-C34C-9F88-A7C7CC3A1EA2}" presName="negativeSpace" presStyleCnt="0"/>
      <dgm:spPr/>
    </dgm:pt>
    <dgm:pt modelId="{9C96D635-3AD3-1F42-AD18-0EC08EF7EBDC}" type="pres">
      <dgm:prSet presAssocID="{83FDFBF5-3880-C34C-9F88-A7C7CC3A1EA2}" presName="childText" presStyleLbl="conFgAcc1" presStyleIdx="3" presStyleCnt="4">
        <dgm:presLayoutVars>
          <dgm:bulletEnabled val="1"/>
        </dgm:presLayoutVars>
      </dgm:prSet>
      <dgm:spPr/>
    </dgm:pt>
  </dgm:ptLst>
  <dgm:cxnLst>
    <dgm:cxn modelId="{A636E603-AB04-B940-A2F9-7DC71236B4F0}" type="presOf" srcId="{83FDFBF5-3880-C34C-9F88-A7C7CC3A1EA2}" destId="{64A5510A-84FE-8249-BA76-EF103C6C9647}" srcOrd="0" destOrd="0" presId="urn:microsoft.com/office/officeart/2005/8/layout/list1"/>
    <dgm:cxn modelId="{5921D81E-C961-5041-A1DF-0F2C4F7553B6}" srcId="{6D9B0BE5-F451-AE44-9B29-AE62DFDE9BAD}" destId="{A93A9E4C-E7D0-FD43-9FB4-8DBFA8D52D70}" srcOrd="0" destOrd="0" parTransId="{2A68335A-5EE8-7946-BC00-E2667CBF3CE7}" sibTransId="{9B94EF06-5AEB-7C4E-95D8-9DB2D3C38CA9}"/>
    <dgm:cxn modelId="{124BCF24-5065-7741-B5DB-4362CDEE3733}" type="presOf" srcId="{83FDFBF5-3880-C34C-9F88-A7C7CC3A1EA2}" destId="{0D425566-CC0E-4340-ACE4-391D78717F61}" srcOrd="1" destOrd="0" presId="urn:microsoft.com/office/officeart/2005/8/layout/list1"/>
    <dgm:cxn modelId="{0F58922A-6BE6-8245-AB47-48401CFE1338}" srcId="{A93A9E4C-E7D0-FD43-9FB4-8DBFA8D52D70}" destId="{4EE8D05E-A4E5-1243-8B9B-9983FA8372EE}" srcOrd="0" destOrd="0" parTransId="{79BECABF-9AD7-7540-B6C3-C11556F8E677}" sibTransId="{97D55AD6-5E27-B74E-BBB0-80229D733427}"/>
    <dgm:cxn modelId="{DD43C92F-91A2-A246-B04A-DFFC5C13FABA}" type="presOf" srcId="{E45252E5-FABB-8C40-806C-3AFF4E75FCE9}" destId="{4F42647B-5FE1-F944-B9A6-02B15E398CA6}" srcOrd="0" destOrd="0" presId="urn:microsoft.com/office/officeart/2005/8/layout/list1"/>
    <dgm:cxn modelId="{13E93042-B2D6-DC4F-AFDE-21729E440710}" srcId="{E45252E5-FABB-8C40-806C-3AFF4E75FCE9}" destId="{3DA67FA2-A5B7-9943-848C-6964B9A4582D}" srcOrd="0" destOrd="0" parTransId="{CC74A22A-DD9D-E845-8FAA-88AF0EED7ED7}" sibTransId="{679867D5-7138-3347-A798-3B53C48740FF}"/>
    <dgm:cxn modelId="{40DFBA58-CC9F-0E49-A7EE-805C13C60905}" type="presOf" srcId="{A93A9E4C-E7D0-FD43-9FB4-8DBFA8D52D70}" destId="{D3FC7012-1DAA-DA46-ADBE-C16636B8D9DC}" srcOrd="1" destOrd="0" presId="urn:microsoft.com/office/officeart/2005/8/layout/list1"/>
    <dgm:cxn modelId="{48EB9E5B-1DB1-124E-A151-CB0EAAEFBFB1}" type="presOf" srcId="{3DA67FA2-A5B7-9943-848C-6964B9A4582D}" destId="{148FE86C-F7F1-464B-9BC2-28B1D508CF71}" srcOrd="0" destOrd="0" presId="urn:microsoft.com/office/officeart/2005/8/layout/list1"/>
    <dgm:cxn modelId="{AC0AD463-6CB1-3846-B8EC-93D42B13761A}" type="presOf" srcId="{A93A9E4C-E7D0-FD43-9FB4-8DBFA8D52D70}" destId="{4613B049-B51C-7340-82B5-EB44FE099D8B}" srcOrd="0" destOrd="0" presId="urn:microsoft.com/office/officeart/2005/8/layout/list1"/>
    <dgm:cxn modelId="{889AC664-734D-9245-8628-5B19534F0E82}" type="presOf" srcId="{14DA0B7A-897A-7C41-9759-93C7D9C8F0EA}" destId="{9FD7E78C-A84A-B74A-AD8A-66884C7B0B40}" srcOrd="0" destOrd="0" presId="urn:microsoft.com/office/officeart/2005/8/layout/list1"/>
    <dgm:cxn modelId="{A4D2776E-6352-E749-99DB-C50BB47FD53E}" type="presOf" srcId="{D3AEB795-FE68-E646-9D7C-9190D59BF2E6}" destId="{3C94F0F8-7EBF-BD4E-A0AD-A901A507D912}" srcOrd="0" destOrd="0" presId="urn:microsoft.com/office/officeart/2005/8/layout/list1"/>
    <dgm:cxn modelId="{1B69CB72-BDA5-D746-AA37-5E83545C898B}" type="presOf" srcId="{14DA0B7A-897A-7C41-9759-93C7D9C8F0EA}" destId="{AA435AA0-F75A-DB47-8EBE-6CA64DE63185}" srcOrd="1" destOrd="0" presId="urn:microsoft.com/office/officeart/2005/8/layout/list1"/>
    <dgm:cxn modelId="{64AB747B-70D3-BB4D-B4F4-9B27A1465802}" srcId="{6D9B0BE5-F451-AE44-9B29-AE62DFDE9BAD}" destId="{E45252E5-FABB-8C40-806C-3AFF4E75FCE9}" srcOrd="1" destOrd="0" parTransId="{EFF56ECC-82CF-9E48-8A6B-9F7BE1AD3166}" sibTransId="{52E1C086-FA7D-2241-9528-6BB9F16171F3}"/>
    <dgm:cxn modelId="{2471CE8D-5B0D-6E4C-96DB-FF4F3DECF525}" type="presOf" srcId="{EE9B5B14-4192-B544-8D06-140DBCB1760F}" destId="{9C96D635-3AD3-1F42-AD18-0EC08EF7EBDC}" srcOrd="0" destOrd="0" presId="urn:microsoft.com/office/officeart/2005/8/layout/list1"/>
    <dgm:cxn modelId="{45DDF9A6-129C-CD40-8757-57F97090BC95}" srcId="{83FDFBF5-3880-C34C-9F88-A7C7CC3A1EA2}" destId="{EE9B5B14-4192-B544-8D06-140DBCB1760F}" srcOrd="0" destOrd="0" parTransId="{298DC2EF-5E4E-AB41-BA4A-4885822E4CD9}" sibTransId="{55157C8F-4897-124A-BD73-1C627EAD8E07}"/>
    <dgm:cxn modelId="{58F911B0-920A-AD43-B119-DD23E9C5CA14}" type="presOf" srcId="{E45252E5-FABB-8C40-806C-3AFF4E75FCE9}" destId="{24969E15-89B0-DB4E-942C-ADE1E6DD72DA}" srcOrd="1" destOrd="0" presId="urn:microsoft.com/office/officeart/2005/8/layout/list1"/>
    <dgm:cxn modelId="{84993AB0-7075-DE4A-A5B4-9CAF94740A6F}" srcId="{6D9B0BE5-F451-AE44-9B29-AE62DFDE9BAD}" destId="{14DA0B7A-897A-7C41-9759-93C7D9C8F0EA}" srcOrd="2" destOrd="0" parTransId="{D2B86BAF-5275-4D4D-9C82-E31191138425}" sibTransId="{E0F68FFC-15D7-CF4B-8542-EE341028D7F9}"/>
    <dgm:cxn modelId="{E49190C2-E581-D34C-B8BE-652EB5477343}" srcId="{14DA0B7A-897A-7C41-9759-93C7D9C8F0EA}" destId="{D3AEB795-FE68-E646-9D7C-9190D59BF2E6}" srcOrd="0" destOrd="0" parTransId="{38CBD077-309E-5545-9546-2A8C770923BB}" sibTransId="{5176627F-11F5-D04E-9490-5939105E5EB4}"/>
    <dgm:cxn modelId="{DBFDD6D2-463A-244E-921C-BC50EE2E21EB}" srcId="{6D9B0BE5-F451-AE44-9B29-AE62DFDE9BAD}" destId="{83FDFBF5-3880-C34C-9F88-A7C7CC3A1EA2}" srcOrd="3" destOrd="0" parTransId="{64C92EAF-A4BF-6240-8D33-6CF3A1E0E8EA}" sibTransId="{1A6786D2-A08D-E049-AFB2-E72E5DCEFF2F}"/>
    <dgm:cxn modelId="{8DA87FEB-688A-DF49-AB44-AA7984F4D04C}" type="presOf" srcId="{6D9B0BE5-F451-AE44-9B29-AE62DFDE9BAD}" destId="{E476EC1A-90F9-D34F-BC2A-4A475173752C}" srcOrd="0" destOrd="0" presId="urn:microsoft.com/office/officeart/2005/8/layout/list1"/>
    <dgm:cxn modelId="{DAB317F4-A25B-D944-946D-D73E6198D209}" type="presOf" srcId="{4EE8D05E-A4E5-1243-8B9B-9983FA8372EE}" destId="{9E2F0AF7-B0CF-DE47-9E2C-AE76E7E9519D}" srcOrd="0" destOrd="0" presId="urn:microsoft.com/office/officeart/2005/8/layout/list1"/>
    <dgm:cxn modelId="{68343283-B9A7-4648-A809-A838CA966221}" type="presParOf" srcId="{E476EC1A-90F9-D34F-BC2A-4A475173752C}" destId="{2ECE834A-9631-2546-BFB1-CCE5B9E5A588}" srcOrd="0" destOrd="0" presId="urn:microsoft.com/office/officeart/2005/8/layout/list1"/>
    <dgm:cxn modelId="{1B4E9595-3C38-EA42-B50D-3265DA51883C}" type="presParOf" srcId="{2ECE834A-9631-2546-BFB1-CCE5B9E5A588}" destId="{4613B049-B51C-7340-82B5-EB44FE099D8B}" srcOrd="0" destOrd="0" presId="urn:microsoft.com/office/officeart/2005/8/layout/list1"/>
    <dgm:cxn modelId="{1ED37226-D4C4-594A-A707-FAB231D961C9}" type="presParOf" srcId="{2ECE834A-9631-2546-BFB1-CCE5B9E5A588}" destId="{D3FC7012-1DAA-DA46-ADBE-C16636B8D9DC}" srcOrd="1" destOrd="0" presId="urn:microsoft.com/office/officeart/2005/8/layout/list1"/>
    <dgm:cxn modelId="{84011473-CF5B-F34C-9141-52D87BBCECA1}" type="presParOf" srcId="{E476EC1A-90F9-D34F-BC2A-4A475173752C}" destId="{D0825032-4896-C941-A954-ECEB1D73C182}" srcOrd="1" destOrd="0" presId="urn:microsoft.com/office/officeart/2005/8/layout/list1"/>
    <dgm:cxn modelId="{E3190C84-598A-8B47-8B47-6813C0B8A7FE}" type="presParOf" srcId="{E476EC1A-90F9-D34F-BC2A-4A475173752C}" destId="{9E2F0AF7-B0CF-DE47-9E2C-AE76E7E9519D}" srcOrd="2" destOrd="0" presId="urn:microsoft.com/office/officeart/2005/8/layout/list1"/>
    <dgm:cxn modelId="{A5B3001E-D800-964B-8960-89D210E97EC7}" type="presParOf" srcId="{E476EC1A-90F9-D34F-BC2A-4A475173752C}" destId="{1E896CF7-71DB-BA46-BCC8-B32C37BCC011}" srcOrd="3" destOrd="0" presId="urn:microsoft.com/office/officeart/2005/8/layout/list1"/>
    <dgm:cxn modelId="{2A4AC3F8-5BE4-9E41-BDD9-13F615D57BE4}" type="presParOf" srcId="{E476EC1A-90F9-D34F-BC2A-4A475173752C}" destId="{2F774065-091A-C342-B557-9BE67A791241}" srcOrd="4" destOrd="0" presId="urn:microsoft.com/office/officeart/2005/8/layout/list1"/>
    <dgm:cxn modelId="{E6F10F64-8D03-374A-B911-E558C99B6137}" type="presParOf" srcId="{2F774065-091A-C342-B557-9BE67A791241}" destId="{4F42647B-5FE1-F944-B9A6-02B15E398CA6}" srcOrd="0" destOrd="0" presId="urn:microsoft.com/office/officeart/2005/8/layout/list1"/>
    <dgm:cxn modelId="{2DB065CE-3648-474E-8BCC-CDCB3969F81E}" type="presParOf" srcId="{2F774065-091A-C342-B557-9BE67A791241}" destId="{24969E15-89B0-DB4E-942C-ADE1E6DD72DA}" srcOrd="1" destOrd="0" presId="urn:microsoft.com/office/officeart/2005/8/layout/list1"/>
    <dgm:cxn modelId="{A91D23DD-97DF-5C41-A9A7-B054FF457ABF}" type="presParOf" srcId="{E476EC1A-90F9-D34F-BC2A-4A475173752C}" destId="{5AD1F038-EBEF-5245-8003-C66C3C8DAC3C}" srcOrd="5" destOrd="0" presId="urn:microsoft.com/office/officeart/2005/8/layout/list1"/>
    <dgm:cxn modelId="{970CC481-61D5-4A4C-9BAF-8FD0A0BB9C6F}" type="presParOf" srcId="{E476EC1A-90F9-D34F-BC2A-4A475173752C}" destId="{148FE86C-F7F1-464B-9BC2-28B1D508CF71}" srcOrd="6" destOrd="0" presId="urn:microsoft.com/office/officeart/2005/8/layout/list1"/>
    <dgm:cxn modelId="{F8DB2089-BA05-0B4F-9C49-D7849F4BC910}" type="presParOf" srcId="{E476EC1A-90F9-D34F-BC2A-4A475173752C}" destId="{923AB11A-1A4C-834B-B05F-23B2763C473D}" srcOrd="7" destOrd="0" presId="urn:microsoft.com/office/officeart/2005/8/layout/list1"/>
    <dgm:cxn modelId="{5B1C7851-4696-BF4F-B33B-132101AD588F}" type="presParOf" srcId="{E476EC1A-90F9-D34F-BC2A-4A475173752C}" destId="{DA09A063-9B24-C248-8788-BC99DC1183B5}" srcOrd="8" destOrd="0" presId="urn:microsoft.com/office/officeart/2005/8/layout/list1"/>
    <dgm:cxn modelId="{D6D226CF-DD4A-EE46-B481-E5BCCCDE5963}" type="presParOf" srcId="{DA09A063-9B24-C248-8788-BC99DC1183B5}" destId="{9FD7E78C-A84A-B74A-AD8A-66884C7B0B40}" srcOrd="0" destOrd="0" presId="urn:microsoft.com/office/officeart/2005/8/layout/list1"/>
    <dgm:cxn modelId="{BD0C872A-7C99-BD4F-8D6A-E0C14F75D535}" type="presParOf" srcId="{DA09A063-9B24-C248-8788-BC99DC1183B5}" destId="{AA435AA0-F75A-DB47-8EBE-6CA64DE63185}" srcOrd="1" destOrd="0" presId="urn:microsoft.com/office/officeart/2005/8/layout/list1"/>
    <dgm:cxn modelId="{E3625C6A-C45D-F148-8291-080C0C59E7B2}" type="presParOf" srcId="{E476EC1A-90F9-D34F-BC2A-4A475173752C}" destId="{11F14FCC-515A-F048-A7E0-3610F67C7C83}" srcOrd="9" destOrd="0" presId="urn:microsoft.com/office/officeart/2005/8/layout/list1"/>
    <dgm:cxn modelId="{31045042-ACB0-364F-8234-97403E5038ED}" type="presParOf" srcId="{E476EC1A-90F9-D34F-BC2A-4A475173752C}" destId="{3C94F0F8-7EBF-BD4E-A0AD-A901A507D912}" srcOrd="10" destOrd="0" presId="urn:microsoft.com/office/officeart/2005/8/layout/list1"/>
    <dgm:cxn modelId="{36AA503F-359C-0049-B7D3-5B08624E36D9}" type="presParOf" srcId="{E476EC1A-90F9-D34F-BC2A-4A475173752C}" destId="{3BCC1E28-0F08-2747-9E78-F6549F44FA6E}" srcOrd="11" destOrd="0" presId="urn:microsoft.com/office/officeart/2005/8/layout/list1"/>
    <dgm:cxn modelId="{B6A75384-AFFE-1D44-AFA9-9690FB624C3C}" type="presParOf" srcId="{E476EC1A-90F9-D34F-BC2A-4A475173752C}" destId="{471C8B6E-FB50-404F-B174-C29FC5E4EEA9}" srcOrd="12" destOrd="0" presId="urn:microsoft.com/office/officeart/2005/8/layout/list1"/>
    <dgm:cxn modelId="{6A02653B-4F6B-8645-A59E-D7A1464EA3EB}" type="presParOf" srcId="{471C8B6E-FB50-404F-B174-C29FC5E4EEA9}" destId="{64A5510A-84FE-8249-BA76-EF103C6C9647}" srcOrd="0" destOrd="0" presId="urn:microsoft.com/office/officeart/2005/8/layout/list1"/>
    <dgm:cxn modelId="{4B6BF9B5-F38D-C749-A1B6-8C4F73AEC5EC}" type="presParOf" srcId="{471C8B6E-FB50-404F-B174-C29FC5E4EEA9}" destId="{0D425566-CC0E-4340-ACE4-391D78717F61}" srcOrd="1" destOrd="0" presId="urn:microsoft.com/office/officeart/2005/8/layout/list1"/>
    <dgm:cxn modelId="{0FC4C103-8C71-F148-9814-6B1BAF36FE7D}" type="presParOf" srcId="{E476EC1A-90F9-D34F-BC2A-4A475173752C}" destId="{75B8033C-CCF6-F242-ACF7-58DC0B591607}" srcOrd="13" destOrd="0" presId="urn:microsoft.com/office/officeart/2005/8/layout/list1"/>
    <dgm:cxn modelId="{19252C84-BA1B-3240-9E17-3951544781F3}" type="presParOf" srcId="{E476EC1A-90F9-D34F-BC2A-4A475173752C}" destId="{9C96D635-3AD3-1F42-AD18-0EC08EF7EBDC}" srcOrd="14"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D9B0BE5-F451-AE44-9B29-AE62DFDE9BAD}" type="doc">
      <dgm:prSet loTypeId="urn:microsoft.com/office/officeart/2005/8/layout/list1" loCatId="" qsTypeId="urn:microsoft.com/office/officeart/2005/8/quickstyle/simple1" qsCatId="simple" csTypeId="urn:microsoft.com/office/officeart/2005/8/colors/accent1_2" csCatId="accent1" phldr="1"/>
      <dgm:spPr/>
      <dgm:t>
        <a:bodyPr/>
        <a:lstStyle/>
        <a:p>
          <a:endParaRPr lang="en-US"/>
        </a:p>
      </dgm:t>
    </dgm:pt>
    <dgm:pt modelId="{A93A9E4C-E7D0-FD43-9FB4-8DBFA8D52D70}">
      <dgm:prSet phldrT="[Text]"/>
      <dgm:spPr/>
      <dgm:t>
        <a:bodyPr/>
        <a:lstStyle/>
        <a:p>
          <a:r>
            <a:rPr lang="en-US" dirty="0"/>
            <a:t>Multiple </a:t>
          </a:r>
          <a:r>
            <a:rPr lang="en-US" dirty="0" err="1"/>
            <a:t>Authorisation</a:t>
          </a:r>
          <a:endParaRPr lang="en-US" dirty="0"/>
        </a:p>
      </dgm:t>
    </dgm:pt>
    <dgm:pt modelId="{2A68335A-5EE8-7946-BC00-E2667CBF3CE7}" type="parTrans" cxnId="{5921D81E-C961-5041-A1DF-0F2C4F7553B6}">
      <dgm:prSet/>
      <dgm:spPr/>
      <dgm:t>
        <a:bodyPr/>
        <a:lstStyle/>
        <a:p>
          <a:endParaRPr lang="en-US"/>
        </a:p>
      </dgm:t>
    </dgm:pt>
    <dgm:pt modelId="{9B94EF06-5AEB-7C4E-95D8-9DB2D3C38CA9}" type="sibTrans" cxnId="{5921D81E-C961-5041-A1DF-0F2C4F7553B6}">
      <dgm:prSet/>
      <dgm:spPr/>
      <dgm:t>
        <a:bodyPr/>
        <a:lstStyle/>
        <a:p>
          <a:endParaRPr lang="en-US"/>
        </a:p>
      </dgm:t>
    </dgm:pt>
    <dgm:pt modelId="{E45252E5-FABB-8C40-806C-3AFF4E75FCE9}">
      <dgm:prSet phldrT="[Text]"/>
      <dgm:spPr/>
      <dgm:t>
        <a:bodyPr/>
        <a:lstStyle/>
        <a:p>
          <a:r>
            <a:rPr lang="en-US" dirty="0"/>
            <a:t>Dynamic </a:t>
          </a:r>
          <a:r>
            <a:rPr lang="en-US" dirty="0" err="1"/>
            <a:t>Authorisation</a:t>
          </a:r>
          <a:r>
            <a:rPr lang="en-US" dirty="0"/>
            <a:t> </a:t>
          </a:r>
        </a:p>
      </dgm:t>
    </dgm:pt>
    <dgm:pt modelId="{EFF56ECC-82CF-9E48-8A6B-9F7BE1AD3166}" type="parTrans" cxnId="{64AB747B-70D3-BB4D-B4F4-9B27A1465802}">
      <dgm:prSet/>
      <dgm:spPr/>
      <dgm:t>
        <a:bodyPr/>
        <a:lstStyle/>
        <a:p>
          <a:endParaRPr lang="en-US"/>
        </a:p>
      </dgm:t>
    </dgm:pt>
    <dgm:pt modelId="{52E1C086-FA7D-2241-9528-6BB9F16171F3}" type="sibTrans" cxnId="{64AB747B-70D3-BB4D-B4F4-9B27A1465802}">
      <dgm:prSet/>
      <dgm:spPr/>
      <dgm:t>
        <a:bodyPr/>
        <a:lstStyle/>
        <a:p>
          <a:endParaRPr lang="en-US"/>
        </a:p>
      </dgm:t>
    </dgm:pt>
    <dgm:pt modelId="{14DA0B7A-897A-7C41-9759-93C7D9C8F0EA}">
      <dgm:prSet phldrT="[Text]"/>
      <dgm:spPr/>
      <dgm:t>
        <a:bodyPr/>
        <a:lstStyle/>
        <a:p>
          <a:r>
            <a:rPr lang="en-US" dirty="0"/>
            <a:t>X-Confirmation</a:t>
          </a:r>
        </a:p>
      </dgm:t>
    </dgm:pt>
    <dgm:pt modelId="{D2B86BAF-5275-4D4D-9C82-E31191138425}" type="parTrans" cxnId="{84993AB0-7075-DE4A-A5B4-9CAF94740A6F}">
      <dgm:prSet/>
      <dgm:spPr/>
      <dgm:t>
        <a:bodyPr/>
        <a:lstStyle/>
        <a:p>
          <a:endParaRPr lang="en-US"/>
        </a:p>
      </dgm:t>
    </dgm:pt>
    <dgm:pt modelId="{E0F68FFC-15D7-CF4B-8542-EE341028D7F9}" type="sibTrans" cxnId="{84993AB0-7075-DE4A-A5B4-9CAF94740A6F}">
      <dgm:prSet/>
      <dgm:spPr/>
      <dgm:t>
        <a:bodyPr/>
        <a:lstStyle/>
        <a:p>
          <a:endParaRPr lang="en-US"/>
        </a:p>
      </dgm:t>
    </dgm:pt>
    <dgm:pt modelId="{83FDFBF5-3880-C34C-9F88-A7C7CC3A1EA2}">
      <dgm:prSet phldrT="[Text]"/>
      <dgm:spPr/>
      <dgm:t>
        <a:bodyPr/>
        <a:lstStyle/>
        <a:p>
          <a:r>
            <a:rPr lang="en-US" dirty="0"/>
            <a:t>Security Deposit</a:t>
          </a:r>
        </a:p>
      </dgm:t>
    </dgm:pt>
    <dgm:pt modelId="{64C92EAF-A4BF-6240-8D33-6CF3A1E0E8EA}" type="parTrans" cxnId="{DBFDD6D2-463A-244E-921C-BC50EE2E21EB}">
      <dgm:prSet/>
      <dgm:spPr/>
      <dgm:t>
        <a:bodyPr/>
        <a:lstStyle/>
        <a:p>
          <a:endParaRPr lang="en-US"/>
        </a:p>
      </dgm:t>
    </dgm:pt>
    <dgm:pt modelId="{1A6786D2-A08D-E049-AFB2-E72E5DCEFF2F}" type="sibTrans" cxnId="{DBFDD6D2-463A-244E-921C-BC50EE2E21EB}">
      <dgm:prSet/>
      <dgm:spPr/>
      <dgm:t>
        <a:bodyPr/>
        <a:lstStyle/>
        <a:p>
          <a:endParaRPr lang="en-US"/>
        </a:p>
      </dgm:t>
    </dgm:pt>
    <dgm:pt modelId="{4EE8D05E-A4E5-1243-8B9B-9983FA8372EE}">
      <dgm:prSet phldrT="[Text]"/>
      <dgm:spPr/>
      <dgm:t>
        <a:bodyPr/>
        <a:lstStyle/>
        <a:p>
          <a:r>
            <a:rPr lang="en-US" dirty="0"/>
            <a:t>TXs are required to be </a:t>
          </a:r>
          <a:r>
            <a:rPr lang="en-US" dirty="0" err="1"/>
            <a:t>authorised</a:t>
          </a:r>
          <a:r>
            <a:rPr lang="en-US" dirty="0"/>
            <a:t> by a subset of pre-defined addresses </a:t>
          </a:r>
        </a:p>
      </dgm:t>
    </dgm:pt>
    <dgm:pt modelId="{79BECABF-9AD7-7540-B6C3-C11556F8E677}" type="parTrans" cxnId="{0F58922A-6BE6-8245-AB47-48401CFE1338}">
      <dgm:prSet/>
      <dgm:spPr/>
      <dgm:t>
        <a:bodyPr/>
        <a:lstStyle/>
        <a:p>
          <a:endParaRPr lang="en-US"/>
        </a:p>
      </dgm:t>
    </dgm:pt>
    <dgm:pt modelId="{97D55AD6-5E27-B74E-BBB0-80229D733427}" type="sibTrans" cxnId="{0F58922A-6BE6-8245-AB47-48401CFE1338}">
      <dgm:prSet/>
      <dgm:spPr/>
      <dgm:t>
        <a:bodyPr/>
        <a:lstStyle/>
        <a:p>
          <a:endParaRPr lang="en-US"/>
        </a:p>
      </dgm:t>
    </dgm:pt>
    <dgm:pt modelId="{3DA67FA2-A5B7-9943-848C-6964B9A4582D}">
      <dgm:prSet phldrT="[Text]"/>
      <dgm:spPr/>
      <dgm:t>
        <a:bodyPr/>
        <a:lstStyle/>
        <a:p>
          <a:r>
            <a:rPr lang="en-US" dirty="0"/>
            <a:t>Using a hash created off-chain to dynamically bind authority for a TX</a:t>
          </a:r>
        </a:p>
      </dgm:t>
    </dgm:pt>
    <dgm:pt modelId="{CC74A22A-DD9D-E845-8FAA-88AF0EED7ED7}" type="parTrans" cxnId="{13E93042-B2D6-DC4F-AFDE-21729E440710}">
      <dgm:prSet/>
      <dgm:spPr/>
      <dgm:t>
        <a:bodyPr/>
        <a:lstStyle/>
        <a:p>
          <a:endParaRPr lang="en-US"/>
        </a:p>
      </dgm:t>
    </dgm:pt>
    <dgm:pt modelId="{679867D5-7138-3347-A798-3B53C48740FF}" type="sibTrans" cxnId="{13E93042-B2D6-DC4F-AFDE-21729E440710}">
      <dgm:prSet/>
      <dgm:spPr/>
      <dgm:t>
        <a:bodyPr/>
        <a:lstStyle/>
        <a:p>
          <a:endParaRPr lang="en-US"/>
        </a:p>
      </dgm:t>
    </dgm:pt>
    <dgm:pt modelId="{D3AEB795-FE68-E646-9D7C-9190D59BF2E6}">
      <dgm:prSet phldrT="[Text]"/>
      <dgm:spPr/>
      <dgm:t>
        <a:bodyPr/>
        <a:lstStyle/>
        <a:p>
          <a:r>
            <a:rPr lang="en-US" dirty="0"/>
            <a:t>Waiting for enough number of blocks as confirmation to ensure that a TX added into blockchain is immutable with high probability </a:t>
          </a:r>
        </a:p>
      </dgm:t>
    </dgm:pt>
    <dgm:pt modelId="{38CBD077-309E-5545-9546-2A8C770923BB}" type="parTrans" cxnId="{E49190C2-E581-D34C-B8BE-652EB5477343}">
      <dgm:prSet/>
      <dgm:spPr/>
      <dgm:t>
        <a:bodyPr/>
        <a:lstStyle/>
        <a:p>
          <a:endParaRPr lang="en-US"/>
        </a:p>
      </dgm:t>
    </dgm:pt>
    <dgm:pt modelId="{5176627F-11F5-D04E-9490-5939105E5EB4}" type="sibTrans" cxnId="{E49190C2-E581-D34C-B8BE-652EB5477343}">
      <dgm:prSet/>
      <dgm:spPr/>
      <dgm:t>
        <a:bodyPr/>
        <a:lstStyle/>
        <a:p>
          <a:endParaRPr lang="en-US"/>
        </a:p>
      </dgm:t>
    </dgm:pt>
    <dgm:pt modelId="{EE9B5B14-4192-B544-8D06-140DBCB1760F}">
      <dgm:prSet phldrT="[Text]"/>
      <dgm:spPr/>
      <dgm:t>
        <a:bodyPr/>
        <a:lstStyle/>
        <a:p>
          <a:r>
            <a:rPr lang="en-US" dirty="0"/>
            <a:t>A deposit from a user, which will be paid back to user for her honesty or given to others to compensate them for dishonesty of user </a:t>
          </a:r>
        </a:p>
      </dgm:t>
    </dgm:pt>
    <dgm:pt modelId="{298DC2EF-5E4E-AB41-BA4A-4885822E4CD9}" type="parTrans" cxnId="{45DDF9A6-129C-CD40-8757-57F97090BC95}">
      <dgm:prSet/>
      <dgm:spPr/>
      <dgm:t>
        <a:bodyPr/>
        <a:lstStyle/>
        <a:p>
          <a:endParaRPr lang="en-US"/>
        </a:p>
      </dgm:t>
    </dgm:pt>
    <dgm:pt modelId="{55157C8F-4897-124A-BD73-1C627EAD8E07}" type="sibTrans" cxnId="{45DDF9A6-129C-CD40-8757-57F97090BC95}">
      <dgm:prSet/>
      <dgm:spPr/>
      <dgm:t>
        <a:bodyPr/>
        <a:lstStyle/>
        <a:p>
          <a:endParaRPr lang="en-US"/>
        </a:p>
      </dgm:t>
    </dgm:pt>
    <dgm:pt modelId="{E476EC1A-90F9-D34F-BC2A-4A475173752C}" type="pres">
      <dgm:prSet presAssocID="{6D9B0BE5-F451-AE44-9B29-AE62DFDE9BAD}" presName="linear" presStyleCnt="0">
        <dgm:presLayoutVars>
          <dgm:dir/>
          <dgm:animLvl val="lvl"/>
          <dgm:resizeHandles val="exact"/>
        </dgm:presLayoutVars>
      </dgm:prSet>
      <dgm:spPr/>
    </dgm:pt>
    <dgm:pt modelId="{2ECE834A-9631-2546-BFB1-CCE5B9E5A588}" type="pres">
      <dgm:prSet presAssocID="{A93A9E4C-E7D0-FD43-9FB4-8DBFA8D52D70}" presName="parentLin" presStyleCnt="0"/>
      <dgm:spPr/>
    </dgm:pt>
    <dgm:pt modelId="{4613B049-B51C-7340-82B5-EB44FE099D8B}" type="pres">
      <dgm:prSet presAssocID="{A93A9E4C-E7D0-FD43-9FB4-8DBFA8D52D70}" presName="parentLeftMargin" presStyleLbl="node1" presStyleIdx="0" presStyleCnt="4"/>
      <dgm:spPr/>
    </dgm:pt>
    <dgm:pt modelId="{D3FC7012-1DAA-DA46-ADBE-C16636B8D9DC}" type="pres">
      <dgm:prSet presAssocID="{A93A9E4C-E7D0-FD43-9FB4-8DBFA8D52D70}" presName="parentText" presStyleLbl="node1" presStyleIdx="0" presStyleCnt="4">
        <dgm:presLayoutVars>
          <dgm:chMax val="0"/>
          <dgm:bulletEnabled val="1"/>
        </dgm:presLayoutVars>
      </dgm:prSet>
      <dgm:spPr/>
    </dgm:pt>
    <dgm:pt modelId="{D0825032-4896-C941-A954-ECEB1D73C182}" type="pres">
      <dgm:prSet presAssocID="{A93A9E4C-E7D0-FD43-9FB4-8DBFA8D52D70}" presName="negativeSpace" presStyleCnt="0"/>
      <dgm:spPr/>
    </dgm:pt>
    <dgm:pt modelId="{9E2F0AF7-B0CF-DE47-9E2C-AE76E7E9519D}" type="pres">
      <dgm:prSet presAssocID="{A93A9E4C-E7D0-FD43-9FB4-8DBFA8D52D70}" presName="childText" presStyleLbl="conFgAcc1" presStyleIdx="0" presStyleCnt="4">
        <dgm:presLayoutVars>
          <dgm:bulletEnabled val="1"/>
        </dgm:presLayoutVars>
      </dgm:prSet>
      <dgm:spPr/>
    </dgm:pt>
    <dgm:pt modelId="{1E896CF7-71DB-BA46-BCC8-B32C37BCC011}" type="pres">
      <dgm:prSet presAssocID="{9B94EF06-5AEB-7C4E-95D8-9DB2D3C38CA9}" presName="spaceBetweenRectangles" presStyleCnt="0"/>
      <dgm:spPr/>
    </dgm:pt>
    <dgm:pt modelId="{2F774065-091A-C342-B557-9BE67A791241}" type="pres">
      <dgm:prSet presAssocID="{E45252E5-FABB-8C40-806C-3AFF4E75FCE9}" presName="parentLin" presStyleCnt="0"/>
      <dgm:spPr/>
    </dgm:pt>
    <dgm:pt modelId="{4F42647B-5FE1-F944-B9A6-02B15E398CA6}" type="pres">
      <dgm:prSet presAssocID="{E45252E5-FABB-8C40-806C-3AFF4E75FCE9}" presName="parentLeftMargin" presStyleLbl="node1" presStyleIdx="0" presStyleCnt="4"/>
      <dgm:spPr/>
    </dgm:pt>
    <dgm:pt modelId="{24969E15-89B0-DB4E-942C-ADE1E6DD72DA}" type="pres">
      <dgm:prSet presAssocID="{E45252E5-FABB-8C40-806C-3AFF4E75FCE9}" presName="parentText" presStyleLbl="node1" presStyleIdx="1" presStyleCnt="4">
        <dgm:presLayoutVars>
          <dgm:chMax val="0"/>
          <dgm:bulletEnabled val="1"/>
        </dgm:presLayoutVars>
      </dgm:prSet>
      <dgm:spPr/>
    </dgm:pt>
    <dgm:pt modelId="{5AD1F038-EBEF-5245-8003-C66C3C8DAC3C}" type="pres">
      <dgm:prSet presAssocID="{E45252E5-FABB-8C40-806C-3AFF4E75FCE9}" presName="negativeSpace" presStyleCnt="0"/>
      <dgm:spPr/>
    </dgm:pt>
    <dgm:pt modelId="{148FE86C-F7F1-464B-9BC2-28B1D508CF71}" type="pres">
      <dgm:prSet presAssocID="{E45252E5-FABB-8C40-806C-3AFF4E75FCE9}" presName="childText" presStyleLbl="conFgAcc1" presStyleIdx="1" presStyleCnt="4">
        <dgm:presLayoutVars>
          <dgm:bulletEnabled val="1"/>
        </dgm:presLayoutVars>
      </dgm:prSet>
      <dgm:spPr/>
    </dgm:pt>
    <dgm:pt modelId="{923AB11A-1A4C-834B-B05F-23B2763C473D}" type="pres">
      <dgm:prSet presAssocID="{52E1C086-FA7D-2241-9528-6BB9F16171F3}" presName="spaceBetweenRectangles" presStyleCnt="0"/>
      <dgm:spPr/>
    </dgm:pt>
    <dgm:pt modelId="{DA09A063-9B24-C248-8788-BC99DC1183B5}" type="pres">
      <dgm:prSet presAssocID="{14DA0B7A-897A-7C41-9759-93C7D9C8F0EA}" presName="parentLin" presStyleCnt="0"/>
      <dgm:spPr/>
    </dgm:pt>
    <dgm:pt modelId="{9FD7E78C-A84A-B74A-AD8A-66884C7B0B40}" type="pres">
      <dgm:prSet presAssocID="{14DA0B7A-897A-7C41-9759-93C7D9C8F0EA}" presName="parentLeftMargin" presStyleLbl="node1" presStyleIdx="1" presStyleCnt="4"/>
      <dgm:spPr/>
    </dgm:pt>
    <dgm:pt modelId="{AA435AA0-F75A-DB47-8EBE-6CA64DE63185}" type="pres">
      <dgm:prSet presAssocID="{14DA0B7A-897A-7C41-9759-93C7D9C8F0EA}" presName="parentText" presStyleLbl="node1" presStyleIdx="2" presStyleCnt="4">
        <dgm:presLayoutVars>
          <dgm:chMax val="0"/>
          <dgm:bulletEnabled val="1"/>
        </dgm:presLayoutVars>
      </dgm:prSet>
      <dgm:spPr/>
    </dgm:pt>
    <dgm:pt modelId="{11F14FCC-515A-F048-A7E0-3610F67C7C83}" type="pres">
      <dgm:prSet presAssocID="{14DA0B7A-897A-7C41-9759-93C7D9C8F0EA}" presName="negativeSpace" presStyleCnt="0"/>
      <dgm:spPr/>
    </dgm:pt>
    <dgm:pt modelId="{3C94F0F8-7EBF-BD4E-A0AD-A901A507D912}" type="pres">
      <dgm:prSet presAssocID="{14DA0B7A-897A-7C41-9759-93C7D9C8F0EA}" presName="childText" presStyleLbl="conFgAcc1" presStyleIdx="2" presStyleCnt="4">
        <dgm:presLayoutVars>
          <dgm:bulletEnabled val="1"/>
        </dgm:presLayoutVars>
      </dgm:prSet>
      <dgm:spPr/>
    </dgm:pt>
    <dgm:pt modelId="{3BCC1E28-0F08-2747-9E78-F6549F44FA6E}" type="pres">
      <dgm:prSet presAssocID="{E0F68FFC-15D7-CF4B-8542-EE341028D7F9}" presName="spaceBetweenRectangles" presStyleCnt="0"/>
      <dgm:spPr/>
    </dgm:pt>
    <dgm:pt modelId="{471C8B6E-FB50-404F-B174-C29FC5E4EEA9}" type="pres">
      <dgm:prSet presAssocID="{83FDFBF5-3880-C34C-9F88-A7C7CC3A1EA2}" presName="parentLin" presStyleCnt="0"/>
      <dgm:spPr/>
    </dgm:pt>
    <dgm:pt modelId="{64A5510A-84FE-8249-BA76-EF103C6C9647}" type="pres">
      <dgm:prSet presAssocID="{83FDFBF5-3880-C34C-9F88-A7C7CC3A1EA2}" presName="parentLeftMargin" presStyleLbl="node1" presStyleIdx="2" presStyleCnt="4"/>
      <dgm:spPr/>
    </dgm:pt>
    <dgm:pt modelId="{0D425566-CC0E-4340-ACE4-391D78717F61}" type="pres">
      <dgm:prSet presAssocID="{83FDFBF5-3880-C34C-9F88-A7C7CC3A1EA2}" presName="parentText" presStyleLbl="node1" presStyleIdx="3" presStyleCnt="4">
        <dgm:presLayoutVars>
          <dgm:chMax val="0"/>
          <dgm:bulletEnabled val="1"/>
        </dgm:presLayoutVars>
      </dgm:prSet>
      <dgm:spPr/>
    </dgm:pt>
    <dgm:pt modelId="{75B8033C-CCF6-F242-ACF7-58DC0B591607}" type="pres">
      <dgm:prSet presAssocID="{83FDFBF5-3880-C34C-9F88-A7C7CC3A1EA2}" presName="negativeSpace" presStyleCnt="0"/>
      <dgm:spPr/>
    </dgm:pt>
    <dgm:pt modelId="{9C96D635-3AD3-1F42-AD18-0EC08EF7EBDC}" type="pres">
      <dgm:prSet presAssocID="{83FDFBF5-3880-C34C-9F88-A7C7CC3A1EA2}" presName="childText" presStyleLbl="conFgAcc1" presStyleIdx="3" presStyleCnt="4">
        <dgm:presLayoutVars>
          <dgm:bulletEnabled val="1"/>
        </dgm:presLayoutVars>
      </dgm:prSet>
      <dgm:spPr/>
    </dgm:pt>
  </dgm:ptLst>
  <dgm:cxnLst>
    <dgm:cxn modelId="{D77A3A05-6BB3-DC49-B45C-5A3B3165BBAF}" type="presOf" srcId="{14DA0B7A-897A-7C41-9759-93C7D9C8F0EA}" destId="{AA435AA0-F75A-DB47-8EBE-6CA64DE63185}" srcOrd="1" destOrd="0" presId="urn:microsoft.com/office/officeart/2005/8/layout/list1"/>
    <dgm:cxn modelId="{3FF02310-7208-D847-A6E7-AC75380CFF94}" type="presOf" srcId="{6D9B0BE5-F451-AE44-9B29-AE62DFDE9BAD}" destId="{E476EC1A-90F9-D34F-BC2A-4A475173752C}" srcOrd="0" destOrd="0" presId="urn:microsoft.com/office/officeart/2005/8/layout/list1"/>
    <dgm:cxn modelId="{5921D81E-C961-5041-A1DF-0F2C4F7553B6}" srcId="{6D9B0BE5-F451-AE44-9B29-AE62DFDE9BAD}" destId="{A93A9E4C-E7D0-FD43-9FB4-8DBFA8D52D70}" srcOrd="0" destOrd="0" parTransId="{2A68335A-5EE8-7946-BC00-E2667CBF3CE7}" sibTransId="{9B94EF06-5AEB-7C4E-95D8-9DB2D3C38CA9}"/>
    <dgm:cxn modelId="{8973A822-1F3D-1F43-AE3D-B1346FD56BF9}" type="presOf" srcId="{E45252E5-FABB-8C40-806C-3AFF4E75FCE9}" destId="{24969E15-89B0-DB4E-942C-ADE1E6DD72DA}" srcOrd="1" destOrd="0" presId="urn:microsoft.com/office/officeart/2005/8/layout/list1"/>
    <dgm:cxn modelId="{0F58922A-6BE6-8245-AB47-48401CFE1338}" srcId="{A93A9E4C-E7D0-FD43-9FB4-8DBFA8D52D70}" destId="{4EE8D05E-A4E5-1243-8B9B-9983FA8372EE}" srcOrd="0" destOrd="0" parTransId="{79BECABF-9AD7-7540-B6C3-C11556F8E677}" sibTransId="{97D55AD6-5E27-B74E-BBB0-80229D733427}"/>
    <dgm:cxn modelId="{15766C3A-02A5-6543-8645-8F318BFD374D}" type="presOf" srcId="{EE9B5B14-4192-B544-8D06-140DBCB1760F}" destId="{9C96D635-3AD3-1F42-AD18-0EC08EF7EBDC}" srcOrd="0" destOrd="0" presId="urn:microsoft.com/office/officeart/2005/8/layout/list1"/>
    <dgm:cxn modelId="{007E9D40-B082-B241-A94C-62A7F9D7F67B}" type="presOf" srcId="{14DA0B7A-897A-7C41-9759-93C7D9C8F0EA}" destId="{9FD7E78C-A84A-B74A-AD8A-66884C7B0B40}" srcOrd="0" destOrd="0" presId="urn:microsoft.com/office/officeart/2005/8/layout/list1"/>
    <dgm:cxn modelId="{13E93042-B2D6-DC4F-AFDE-21729E440710}" srcId="{E45252E5-FABB-8C40-806C-3AFF4E75FCE9}" destId="{3DA67FA2-A5B7-9943-848C-6964B9A4582D}" srcOrd="0" destOrd="0" parTransId="{CC74A22A-DD9D-E845-8FAA-88AF0EED7ED7}" sibTransId="{679867D5-7138-3347-A798-3B53C48740FF}"/>
    <dgm:cxn modelId="{6FCE1257-724E-7741-82FE-D3CFE0091896}" type="presOf" srcId="{A93A9E4C-E7D0-FD43-9FB4-8DBFA8D52D70}" destId="{D3FC7012-1DAA-DA46-ADBE-C16636B8D9DC}" srcOrd="1" destOrd="0" presId="urn:microsoft.com/office/officeart/2005/8/layout/list1"/>
    <dgm:cxn modelId="{64AB747B-70D3-BB4D-B4F4-9B27A1465802}" srcId="{6D9B0BE5-F451-AE44-9B29-AE62DFDE9BAD}" destId="{E45252E5-FABB-8C40-806C-3AFF4E75FCE9}" srcOrd="1" destOrd="0" parTransId="{EFF56ECC-82CF-9E48-8A6B-9F7BE1AD3166}" sibTransId="{52E1C086-FA7D-2241-9528-6BB9F16171F3}"/>
    <dgm:cxn modelId="{502B8D8C-4456-0B40-A268-04701D859568}" type="presOf" srcId="{3DA67FA2-A5B7-9943-848C-6964B9A4582D}" destId="{148FE86C-F7F1-464B-9BC2-28B1D508CF71}" srcOrd="0" destOrd="0" presId="urn:microsoft.com/office/officeart/2005/8/layout/list1"/>
    <dgm:cxn modelId="{445D2C97-1DCE-E948-B979-8B32D0E738DF}" type="presOf" srcId="{83FDFBF5-3880-C34C-9F88-A7C7CC3A1EA2}" destId="{0D425566-CC0E-4340-ACE4-391D78717F61}" srcOrd="1" destOrd="0" presId="urn:microsoft.com/office/officeart/2005/8/layout/list1"/>
    <dgm:cxn modelId="{59533998-750F-8841-8291-67AECDE0B127}" type="presOf" srcId="{4EE8D05E-A4E5-1243-8B9B-9983FA8372EE}" destId="{9E2F0AF7-B0CF-DE47-9E2C-AE76E7E9519D}" srcOrd="0" destOrd="0" presId="urn:microsoft.com/office/officeart/2005/8/layout/list1"/>
    <dgm:cxn modelId="{45DDF9A6-129C-CD40-8757-57F97090BC95}" srcId="{83FDFBF5-3880-C34C-9F88-A7C7CC3A1EA2}" destId="{EE9B5B14-4192-B544-8D06-140DBCB1760F}" srcOrd="0" destOrd="0" parTransId="{298DC2EF-5E4E-AB41-BA4A-4885822E4CD9}" sibTransId="{55157C8F-4897-124A-BD73-1C627EAD8E07}"/>
    <dgm:cxn modelId="{84993AB0-7075-DE4A-A5B4-9CAF94740A6F}" srcId="{6D9B0BE5-F451-AE44-9B29-AE62DFDE9BAD}" destId="{14DA0B7A-897A-7C41-9759-93C7D9C8F0EA}" srcOrd="2" destOrd="0" parTransId="{D2B86BAF-5275-4D4D-9C82-E31191138425}" sibTransId="{E0F68FFC-15D7-CF4B-8542-EE341028D7F9}"/>
    <dgm:cxn modelId="{E49190C2-E581-D34C-B8BE-652EB5477343}" srcId="{14DA0B7A-897A-7C41-9759-93C7D9C8F0EA}" destId="{D3AEB795-FE68-E646-9D7C-9190D59BF2E6}" srcOrd="0" destOrd="0" parTransId="{38CBD077-309E-5545-9546-2A8C770923BB}" sibTransId="{5176627F-11F5-D04E-9490-5939105E5EB4}"/>
    <dgm:cxn modelId="{FC5E5CC5-8273-C448-9BB5-AD07E42B97EB}" type="presOf" srcId="{D3AEB795-FE68-E646-9D7C-9190D59BF2E6}" destId="{3C94F0F8-7EBF-BD4E-A0AD-A901A507D912}" srcOrd="0" destOrd="0" presId="urn:microsoft.com/office/officeart/2005/8/layout/list1"/>
    <dgm:cxn modelId="{9D422AD1-C451-0645-AF2F-15B5BA637E48}" type="presOf" srcId="{A93A9E4C-E7D0-FD43-9FB4-8DBFA8D52D70}" destId="{4613B049-B51C-7340-82B5-EB44FE099D8B}" srcOrd="0" destOrd="0" presId="urn:microsoft.com/office/officeart/2005/8/layout/list1"/>
    <dgm:cxn modelId="{DBFDD6D2-463A-244E-921C-BC50EE2E21EB}" srcId="{6D9B0BE5-F451-AE44-9B29-AE62DFDE9BAD}" destId="{83FDFBF5-3880-C34C-9F88-A7C7CC3A1EA2}" srcOrd="3" destOrd="0" parTransId="{64C92EAF-A4BF-6240-8D33-6CF3A1E0E8EA}" sibTransId="{1A6786D2-A08D-E049-AFB2-E72E5DCEFF2F}"/>
    <dgm:cxn modelId="{9811EFE3-66B1-034F-9A05-CFD714F75923}" type="presOf" srcId="{83FDFBF5-3880-C34C-9F88-A7C7CC3A1EA2}" destId="{64A5510A-84FE-8249-BA76-EF103C6C9647}" srcOrd="0" destOrd="0" presId="urn:microsoft.com/office/officeart/2005/8/layout/list1"/>
    <dgm:cxn modelId="{873A76F4-B162-A44C-8F16-78340E68E0B5}" type="presOf" srcId="{E45252E5-FABB-8C40-806C-3AFF4E75FCE9}" destId="{4F42647B-5FE1-F944-B9A6-02B15E398CA6}" srcOrd="0" destOrd="0" presId="urn:microsoft.com/office/officeart/2005/8/layout/list1"/>
    <dgm:cxn modelId="{067566F8-82B7-BD41-83A7-60E0645FBEC9}" type="presParOf" srcId="{E476EC1A-90F9-D34F-BC2A-4A475173752C}" destId="{2ECE834A-9631-2546-BFB1-CCE5B9E5A588}" srcOrd="0" destOrd="0" presId="urn:microsoft.com/office/officeart/2005/8/layout/list1"/>
    <dgm:cxn modelId="{6CB7783F-C02E-734D-8E1A-5F62E35DE92D}" type="presParOf" srcId="{2ECE834A-9631-2546-BFB1-CCE5B9E5A588}" destId="{4613B049-B51C-7340-82B5-EB44FE099D8B}" srcOrd="0" destOrd="0" presId="urn:microsoft.com/office/officeart/2005/8/layout/list1"/>
    <dgm:cxn modelId="{15C0D42C-F222-E74D-8D6B-C40E3A672CC4}" type="presParOf" srcId="{2ECE834A-9631-2546-BFB1-CCE5B9E5A588}" destId="{D3FC7012-1DAA-DA46-ADBE-C16636B8D9DC}" srcOrd="1" destOrd="0" presId="urn:microsoft.com/office/officeart/2005/8/layout/list1"/>
    <dgm:cxn modelId="{A695FD97-A3B0-164E-8B10-8D2C3ED34639}" type="presParOf" srcId="{E476EC1A-90F9-D34F-BC2A-4A475173752C}" destId="{D0825032-4896-C941-A954-ECEB1D73C182}" srcOrd="1" destOrd="0" presId="urn:microsoft.com/office/officeart/2005/8/layout/list1"/>
    <dgm:cxn modelId="{2F187DD5-F92C-9B4E-B440-8259E7970F6F}" type="presParOf" srcId="{E476EC1A-90F9-D34F-BC2A-4A475173752C}" destId="{9E2F0AF7-B0CF-DE47-9E2C-AE76E7E9519D}" srcOrd="2" destOrd="0" presId="urn:microsoft.com/office/officeart/2005/8/layout/list1"/>
    <dgm:cxn modelId="{4AFCD482-4798-9F4F-88B5-E7D33F036FF7}" type="presParOf" srcId="{E476EC1A-90F9-D34F-BC2A-4A475173752C}" destId="{1E896CF7-71DB-BA46-BCC8-B32C37BCC011}" srcOrd="3" destOrd="0" presId="urn:microsoft.com/office/officeart/2005/8/layout/list1"/>
    <dgm:cxn modelId="{0E3CD579-DD3F-914B-81F4-45BB60BD726E}" type="presParOf" srcId="{E476EC1A-90F9-D34F-BC2A-4A475173752C}" destId="{2F774065-091A-C342-B557-9BE67A791241}" srcOrd="4" destOrd="0" presId="urn:microsoft.com/office/officeart/2005/8/layout/list1"/>
    <dgm:cxn modelId="{E6118215-A4B3-FB48-A256-508FFBD0231F}" type="presParOf" srcId="{2F774065-091A-C342-B557-9BE67A791241}" destId="{4F42647B-5FE1-F944-B9A6-02B15E398CA6}" srcOrd="0" destOrd="0" presId="urn:microsoft.com/office/officeart/2005/8/layout/list1"/>
    <dgm:cxn modelId="{0CB0E319-7311-EF49-B0D5-C075EDD490F2}" type="presParOf" srcId="{2F774065-091A-C342-B557-9BE67A791241}" destId="{24969E15-89B0-DB4E-942C-ADE1E6DD72DA}" srcOrd="1" destOrd="0" presId="urn:microsoft.com/office/officeart/2005/8/layout/list1"/>
    <dgm:cxn modelId="{B0107F77-E72B-5C4D-9349-D6D57CB48E73}" type="presParOf" srcId="{E476EC1A-90F9-D34F-BC2A-4A475173752C}" destId="{5AD1F038-EBEF-5245-8003-C66C3C8DAC3C}" srcOrd="5" destOrd="0" presId="urn:microsoft.com/office/officeart/2005/8/layout/list1"/>
    <dgm:cxn modelId="{857E0AEC-E0B5-F34C-AAE1-071C6BF5E711}" type="presParOf" srcId="{E476EC1A-90F9-D34F-BC2A-4A475173752C}" destId="{148FE86C-F7F1-464B-9BC2-28B1D508CF71}" srcOrd="6" destOrd="0" presId="urn:microsoft.com/office/officeart/2005/8/layout/list1"/>
    <dgm:cxn modelId="{ED4E7F27-5E0C-5740-B80E-A897997F2416}" type="presParOf" srcId="{E476EC1A-90F9-D34F-BC2A-4A475173752C}" destId="{923AB11A-1A4C-834B-B05F-23B2763C473D}" srcOrd="7" destOrd="0" presId="urn:microsoft.com/office/officeart/2005/8/layout/list1"/>
    <dgm:cxn modelId="{86AAB4E9-E9AB-6545-8EDF-E052CDBF035D}" type="presParOf" srcId="{E476EC1A-90F9-D34F-BC2A-4A475173752C}" destId="{DA09A063-9B24-C248-8788-BC99DC1183B5}" srcOrd="8" destOrd="0" presId="urn:microsoft.com/office/officeart/2005/8/layout/list1"/>
    <dgm:cxn modelId="{F5C5E404-8156-C848-8945-A61D88F75773}" type="presParOf" srcId="{DA09A063-9B24-C248-8788-BC99DC1183B5}" destId="{9FD7E78C-A84A-B74A-AD8A-66884C7B0B40}" srcOrd="0" destOrd="0" presId="urn:microsoft.com/office/officeart/2005/8/layout/list1"/>
    <dgm:cxn modelId="{BFE05C78-ECC2-4941-AE9E-540416A4F0A8}" type="presParOf" srcId="{DA09A063-9B24-C248-8788-BC99DC1183B5}" destId="{AA435AA0-F75A-DB47-8EBE-6CA64DE63185}" srcOrd="1" destOrd="0" presId="urn:microsoft.com/office/officeart/2005/8/layout/list1"/>
    <dgm:cxn modelId="{E39FB70E-35DD-C140-9522-4D85F7CDBC0A}" type="presParOf" srcId="{E476EC1A-90F9-D34F-BC2A-4A475173752C}" destId="{11F14FCC-515A-F048-A7E0-3610F67C7C83}" srcOrd="9" destOrd="0" presId="urn:microsoft.com/office/officeart/2005/8/layout/list1"/>
    <dgm:cxn modelId="{98715356-10CF-434B-9606-603680F30240}" type="presParOf" srcId="{E476EC1A-90F9-D34F-BC2A-4A475173752C}" destId="{3C94F0F8-7EBF-BD4E-A0AD-A901A507D912}" srcOrd="10" destOrd="0" presId="urn:microsoft.com/office/officeart/2005/8/layout/list1"/>
    <dgm:cxn modelId="{B6F92AC9-C0F0-3549-8214-190E33942111}" type="presParOf" srcId="{E476EC1A-90F9-D34F-BC2A-4A475173752C}" destId="{3BCC1E28-0F08-2747-9E78-F6549F44FA6E}" srcOrd="11" destOrd="0" presId="urn:microsoft.com/office/officeart/2005/8/layout/list1"/>
    <dgm:cxn modelId="{A090BA4D-7886-0A44-B757-90C40AA1E2EF}" type="presParOf" srcId="{E476EC1A-90F9-D34F-BC2A-4A475173752C}" destId="{471C8B6E-FB50-404F-B174-C29FC5E4EEA9}" srcOrd="12" destOrd="0" presId="urn:microsoft.com/office/officeart/2005/8/layout/list1"/>
    <dgm:cxn modelId="{01E21933-71CA-7D46-B8DE-BEB8254ED055}" type="presParOf" srcId="{471C8B6E-FB50-404F-B174-C29FC5E4EEA9}" destId="{64A5510A-84FE-8249-BA76-EF103C6C9647}" srcOrd="0" destOrd="0" presId="urn:microsoft.com/office/officeart/2005/8/layout/list1"/>
    <dgm:cxn modelId="{B9E07213-2E3A-A545-A493-3D62853D02B6}" type="presParOf" srcId="{471C8B6E-FB50-404F-B174-C29FC5E4EEA9}" destId="{0D425566-CC0E-4340-ACE4-391D78717F61}" srcOrd="1" destOrd="0" presId="urn:microsoft.com/office/officeart/2005/8/layout/list1"/>
    <dgm:cxn modelId="{5D1D055C-B526-084C-8062-7FD72215125A}" type="presParOf" srcId="{E476EC1A-90F9-D34F-BC2A-4A475173752C}" destId="{75B8033C-CCF6-F242-ACF7-58DC0B591607}" srcOrd="13" destOrd="0" presId="urn:microsoft.com/office/officeart/2005/8/layout/list1"/>
    <dgm:cxn modelId="{3C171E2B-478B-494A-81DB-049B1D3AD253}" type="presParOf" srcId="{E476EC1A-90F9-D34F-BC2A-4A475173752C}" destId="{9C96D635-3AD3-1F42-AD18-0EC08EF7EBDC}" srcOrd="14" destOrd="0" presId="urn:microsoft.com/office/officeart/2005/8/layout/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D9B0BE5-F451-AE44-9B29-AE62DFDE9BAD}" type="doc">
      <dgm:prSet loTypeId="urn:microsoft.com/office/officeart/2005/8/layout/list1" loCatId="" qsTypeId="urn:microsoft.com/office/officeart/2005/8/quickstyle/simple1" qsCatId="simple" csTypeId="urn:microsoft.com/office/officeart/2005/8/colors/accent1_2" csCatId="accent1" phldr="1"/>
      <dgm:spPr/>
      <dgm:t>
        <a:bodyPr/>
        <a:lstStyle/>
        <a:p>
          <a:endParaRPr lang="en-US"/>
        </a:p>
      </dgm:t>
    </dgm:pt>
    <dgm:pt modelId="{A93A9E4C-E7D0-FD43-9FB4-8DBFA8D52D70}">
      <dgm:prSet phldrT="[Text]"/>
      <dgm:spPr/>
      <dgm:t>
        <a:bodyPr/>
        <a:lstStyle/>
        <a:p>
          <a:r>
            <a:rPr lang="en-US" dirty="0"/>
            <a:t>Contract Registry</a:t>
          </a:r>
        </a:p>
      </dgm:t>
    </dgm:pt>
    <dgm:pt modelId="{2A68335A-5EE8-7946-BC00-E2667CBF3CE7}" type="parTrans" cxnId="{5921D81E-C961-5041-A1DF-0F2C4F7553B6}">
      <dgm:prSet/>
      <dgm:spPr/>
      <dgm:t>
        <a:bodyPr/>
        <a:lstStyle/>
        <a:p>
          <a:endParaRPr lang="en-US"/>
        </a:p>
      </dgm:t>
    </dgm:pt>
    <dgm:pt modelId="{9B94EF06-5AEB-7C4E-95D8-9DB2D3C38CA9}" type="sibTrans" cxnId="{5921D81E-C961-5041-A1DF-0F2C4F7553B6}">
      <dgm:prSet/>
      <dgm:spPr/>
      <dgm:t>
        <a:bodyPr/>
        <a:lstStyle/>
        <a:p>
          <a:endParaRPr lang="en-US"/>
        </a:p>
      </dgm:t>
    </dgm:pt>
    <dgm:pt modelId="{E45252E5-FABB-8C40-806C-3AFF4E75FCE9}">
      <dgm:prSet phldrT="[Text]"/>
      <dgm:spPr/>
      <dgm:t>
        <a:bodyPr/>
        <a:lstStyle/>
        <a:p>
          <a:r>
            <a:rPr lang="en-US" dirty="0"/>
            <a:t>Embedded Permission</a:t>
          </a:r>
        </a:p>
      </dgm:t>
    </dgm:pt>
    <dgm:pt modelId="{EFF56ECC-82CF-9E48-8A6B-9F7BE1AD3166}" type="parTrans" cxnId="{64AB747B-70D3-BB4D-B4F4-9B27A1465802}">
      <dgm:prSet/>
      <dgm:spPr/>
      <dgm:t>
        <a:bodyPr/>
        <a:lstStyle/>
        <a:p>
          <a:endParaRPr lang="en-US"/>
        </a:p>
      </dgm:t>
    </dgm:pt>
    <dgm:pt modelId="{52E1C086-FA7D-2241-9528-6BB9F16171F3}" type="sibTrans" cxnId="{64AB747B-70D3-BB4D-B4F4-9B27A1465802}">
      <dgm:prSet/>
      <dgm:spPr/>
      <dgm:t>
        <a:bodyPr/>
        <a:lstStyle/>
        <a:p>
          <a:endParaRPr lang="en-US"/>
        </a:p>
      </dgm:t>
    </dgm:pt>
    <dgm:pt modelId="{14DA0B7A-897A-7C41-9759-93C7D9C8F0EA}">
      <dgm:prSet phldrT="[Text]"/>
      <dgm:spPr/>
      <dgm:t>
        <a:bodyPr/>
        <a:lstStyle/>
        <a:p>
          <a:r>
            <a:rPr lang="en-US" dirty="0"/>
            <a:t>Data Contract</a:t>
          </a:r>
        </a:p>
      </dgm:t>
    </dgm:pt>
    <dgm:pt modelId="{D2B86BAF-5275-4D4D-9C82-E31191138425}" type="parTrans" cxnId="{84993AB0-7075-DE4A-A5B4-9CAF94740A6F}">
      <dgm:prSet/>
      <dgm:spPr/>
      <dgm:t>
        <a:bodyPr/>
        <a:lstStyle/>
        <a:p>
          <a:endParaRPr lang="en-US"/>
        </a:p>
      </dgm:t>
    </dgm:pt>
    <dgm:pt modelId="{E0F68FFC-15D7-CF4B-8542-EE341028D7F9}" type="sibTrans" cxnId="{84993AB0-7075-DE4A-A5B4-9CAF94740A6F}">
      <dgm:prSet/>
      <dgm:spPr/>
      <dgm:t>
        <a:bodyPr/>
        <a:lstStyle/>
        <a:p>
          <a:endParaRPr lang="en-US"/>
        </a:p>
      </dgm:t>
    </dgm:pt>
    <dgm:pt modelId="{83FDFBF5-3880-C34C-9F88-A7C7CC3A1EA2}">
      <dgm:prSet phldrT="[Text]"/>
      <dgm:spPr/>
      <dgm:t>
        <a:bodyPr/>
        <a:lstStyle/>
        <a:p>
          <a:r>
            <a:rPr lang="en-US" dirty="0"/>
            <a:t>Factory Contract</a:t>
          </a:r>
        </a:p>
      </dgm:t>
    </dgm:pt>
    <dgm:pt modelId="{64C92EAF-A4BF-6240-8D33-6CF3A1E0E8EA}" type="parTrans" cxnId="{DBFDD6D2-463A-244E-921C-BC50EE2E21EB}">
      <dgm:prSet/>
      <dgm:spPr/>
      <dgm:t>
        <a:bodyPr/>
        <a:lstStyle/>
        <a:p>
          <a:endParaRPr lang="en-US"/>
        </a:p>
      </dgm:t>
    </dgm:pt>
    <dgm:pt modelId="{1A6786D2-A08D-E049-AFB2-E72E5DCEFF2F}" type="sibTrans" cxnId="{DBFDD6D2-463A-244E-921C-BC50EE2E21EB}">
      <dgm:prSet/>
      <dgm:spPr/>
      <dgm:t>
        <a:bodyPr/>
        <a:lstStyle/>
        <a:p>
          <a:endParaRPr lang="en-US"/>
        </a:p>
      </dgm:t>
    </dgm:pt>
    <dgm:pt modelId="{AE805E67-4EA8-E44E-977C-CE7A6905D586}">
      <dgm:prSet phldrT="[Text]"/>
      <dgm:spPr/>
      <dgm:t>
        <a:bodyPr/>
        <a:lstStyle/>
        <a:p>
          <a:r>
            <a:rPr lang="en-US" dirty="0"/>
            <a:t>Incentive Execution</a:t>
          </a:r>
        </a:p>
      </dgm:t>
    </dgm:pt>
    <dgm:pt modelId="{F62ACB79-F0B7-564F-A02E-275C0C646988}" type="parTrans" cxnId="{F0593E88-DE20-114A-A748-1E4C4F5E9767}">
      <dgm:prSet/>
      <dgm:spPr/>
      <dgm:t>
        <a:bodyPr/>
        <a:lstStyle/>
        <a:p>
          <a:endParaRPr lang="en-US"/>
        </a:p>
      </dgm:t>
    </dgm:pt>
    <dgm:pt modelId="{20A19F98-901A-124B-B679-5A49740AA061}" type="sibTrans" cxnId="{F0593E88-DE20-114A-A748-1E4C4F5E9767}">
      <dgm:prSet/>
      <dgm:spPr/>
      <dgm:t>
        <a:bodyPr/>
        <a:lstStyle/>
        <a:p>
          <a:endParaRPr lang="en-US"/>
        </a:p>
      </dgm:t>
    </dgm:pt>
    <dgm:pt modelId="{4EE8D05E-A4E5-1243-8B9B-9983FA8372EE}">
      <dgm:prSet phldrT="[Text]"/>
      <dgm:spPr/>
      <dgm:t>
        <a:bodyPr/>
        <a:lstStyle/>
        <a:p>
          <a:r>
            <a:rPr lang="en-US" dirty="0"/>
            <a:t>Address and version of a SC is stored in a contract registry</a:t>
          </a:r>
        </a:p>
      </dgm:t>
    </dgm:pt>
    <dgm:pt modelId="{79BECABF-9AD7-7540-B6C3-C11556F8E677}" type="parTrans" cxnId="{0F58922A-6BE6-8245-AB47-48401CFE1338}">
      <dgm:prSet/>
      <dgm:spPr/>
      <dgm:t>
        <a:bodyPr/>
        <a:lstStyle/>
        <a:p>
          <a:endParaRPr lang="en-US"/>
        </a:p>
      </dgm:t>
    </dgm:pt>
    <dgm:pt modelId="{97D55AD6-5E27-B74E-BBB0-80229D733427}" type="sibTrans" cxnId="{0F58922A-6BE6-8245-AB47-48401CFE1338}">
      <dgm:prSet/>
      <dgm:spPr/>
      <dgm:t>
        <a:bodyPr/>
        <a:lstStyle/>
        <a:p>
          <a:endParaRPr lang="en-US"/>
        </a:p>
      </dgm:t>
    </dgm:pt>
    <dgm:pt modelId="{3DA67FA2-A5B7-9943-848C-6964B9A4582D}">
      <dgm:prSet phldrT="[Text]"/>
      <dgm:spPr/>
      <dgm:t>
        <a:bodyPr/>
        <a:lstStyle/>
        <a:p>
          <a:r>
            <a:rPr lang="en-US" dirty="0"/>
            <a:t>Restrict access to invocation of functions defined in a SC</a:t>
          </a:r>
        </a:p>
      </dgm:t>
    </dgm:pt>
    <dgm:pt modelId="{CC74A22A-DD9D-E845-8FAA-88AF0EED7ED7}" type="parTrans" cxnId="{13E93042-B2D6-DC4F-AFDE-21729E440710}">
      <dgm:prSet/>
      <dgm:spPr/>
      <dgm:t>
        <a:bodyPr/>
        <a:lstStyle/>
        <a:p>
          <a:endParaRPr lang="en-US"/>
        </a:p>
      </dgm:t>
    </dgm:pt>
    <dgm:pt modelId="{679867D5-7138-3347-A798-3B53C48740FF}" type="sibTrans" cxnId="{13E93042-B2D6-DC4F-AFDE-21729E440710}">
      <dgm:prSet/>
      <dgm:spPr/>
      <dgm:t>
        <a:bodyPr/>
        <a:lstStyle/>
        <a:p>
          <a:endParaRPr lang="en-US"/>
        </a:p>
      </dgm:t>
    </dgm:pt>
    <dgm:pt modelId="{D3AEB795-FE68-E646-9D7C-9190D59BF2E6}">
      <dgm:prSet phldrT="[Text]"/>
      <dgm:spPr/>
      <dgm:t>
        <a:bodyPr/>
        <a:lstStyle/>
        <a:p>
          <a:r>
            <a:rPr lang="en-US" dirty="0"/>
            <a:t>Storing data in a separate SC from business logic</a:t>
          </a:r>
        </a:p>
      </dgm:t>
    </dgm:pt>
    <dgm:pt modelId="{38CBD077-309E-5545-9546-2A8C770923BB}" type="parTrans" cxnId="{E49190C2-E581-D34C-B8BE-652EB5477343}">
      <dgm:prSet/>
      <dgm:spPr/>
      <dgm:t>
        <a:bodyPr/>
        <a:lstStyle/>
        <a:p>
          <a:endParaRPr lang="en-US"/>
        </a:p>
      </dgm:t>
    </dgm:pt>
    <dgm:pt modelId="{5176627F-11F5-D04E-9490-5939105E5EB4}" type="sibTrans" cxnId="{E49190C2-E581-D34C-B8BE-652EB5477343}">
      <dgm:prSet/>
      <dgm:spPr/>
      <dgm:t>
        <a:bodyPr/>
        <a:lstStyle/>
        <a:p>
          <a:endParaRPr lang="en-US"/>
        </a:p>
      </dgm:t>
    </dgm:pt>
    <dgm:pt modelId="{EE9B5B14-4192-B544-8D06-140DBCB1760F}">
      <dgm:prSet phldrT="[Text]"/>
      <dgm:spPr/>
      <dgm:t>
        <a:bodyPr/>
        <a:lstStyle/>
        <a:p>
          <a:r>
            <a:rPr lang="en-US" dirty="0"/>
            <a:t>An on-chain template contract used as a factory that generates SC instances from template</a:t>
          </a:r>
        </a:p>
      </dgm:t>
    </dgm:pt>
    <dgm:pt modelId="{298DC2EF-5E4E-AB41-BA4A-4885822E4CD9}" type="parTrans" cxnId="{45DDF9A6-129C-CD40-8757-57F97090BC95}">
      <dgm:prSet/>
      <dgm:spPr/>
      <dgm:t>
        <a:bodyPr/>
        <a:lstStyle/>
        <a:p>
          <a:endParaRPr lang="en-US"/>
        </a:p>
      </dgm:t>
    </dgm:pt>
    <dgm:pt modelId="{55157C8F-4897-124A-BD73-1C627EAD8E07}" type="sibTrans" cxnId="{45DDF9A6-129C-CD40-8757-57F97090BC95}">
      <dgm:prSet/>
      <dgm:spPr/>
      <dgm:t>
        <a:bodyPr/>
        <a:lstStyle/>
        <a:p>
          <a:endParaRPr lang="en-US"/>
        </a:p>
      </dgm:t>
    </dgm:pt>
    <dgm:pt modelId="{432D8100-34C0-124F-A21D-3C60EC9490D2}">
      <dgm:prSet phldrT="[Text]"/>
      <dgm:spPr/>
      <dgm:t>
        <a:bodyPr/>
        <a:lstStyle/>
        <a:p>
          <a:r>
            <a:rPr lang="en-US" dirty="0"/>
            <a:t>A reward to caller of a SC function for invocation</a:t>
          </a:r>
        </a:p>
      </dgm:t>
    </dgm:pt>
    <dgm:pt modelId="{2878E7FB-3156-C94A-A868-8DED3951D37A}" type="parTrans" cxnId="{12A349A2-A1C9-6A4A-9697-95C34121F512}">
      <dgm:prSet/>
      <dgm:spPr/>
      <dgm:t>
        <a:bodyPr/>
        <a:lstStyle/>
        <a:p>
          <a:endParaRPr lang="en-US"/>
        </a:p>
      </dgm:t>
    </dgm:pt>
    <dgm:pt modelId="{BAEF5E5E-31ED-B542-80F8-75137909A283}" type="sibTrans" cxnId="{12A349A2-A1C9-6A4A-9697-95C34121F512}">
      <dgm:prSet/>
      <dgm:spPr/>
      <dgm:t>
        <a:bodyPr/>
        <a:lstStyle/>
        <a:p>
          <a:endParaRPr lang="en-US"/>
        </a:p>
      </dgm:t>
    </dgm:pt>
    <dgm:pt modelId="{E476EC1A-90F9-D34F-BC2A-4A475173752C}" type="pres">
      <dgm:prSet presAssocID="{6D9B0BE5-F451-AE44-9B29-AE62DFDE9BAD}" presName="linear" presStyleCnt="0">
        <dgm:presLayoutVars>
          <dgm:dir/>
          <dgm:animLvl val="lvl"/>
          <dgm:resizeHandles val="exact"/>
        </dgm:presLayoutVars>
      </dgm:prSet>
      <dgm:spPr/>
    </dgm:pt>
    <dgm:pt modelId="{2ECE834A-9631-2546-BFB1-CCE5B9E5A588}" type="pres">
      <dgm:prSet presAssocID="{A93A9E4C-E7D0-FD43-9FB4-8DBFA8D52D70}" presName="parentLin" presStyleCnt="0"/>
      <dgm:spPr/>
    </dgm:pt>
    <dgm:pt modelId="{4613B049-B51C-7340-82B5-EB44FE099D8B}" type="pres">
      <dgm:prSet presAssocID="{A93A9E4C-E7D0-FD43-9FB4-8DBFA8D52D70}" presName="parentLeftMargin" presStyleLbl="node1" presStyleIdx="0" presStyleCnt="5"/>
      <dgm:spPr/>
    </dgm:pt>
    <dgm:pt modelId="{D3FC7012-1DAA-DA46-ADBE-C16636B8D9DC}" type="pres">
      <dgm:prSet presAssocID="{A93A9E4C-E7D0-FD43-9FB4-8DBFA8D52D70}" presName="parentText" presStyleLbl="node1" presStyleIdx="0" presStyleCnt="5">
        <dgm:presLayoutVars>
          <dgm:chMax val="0"/>
          <dgm:bulletEnabled val="1"/>
        </dgm:presLayoutVars>
      </dgm:prSet>
      <dgm:spPr/>
    </dgm:pt>
    <dgm:pt modelId="{D0825032-4896-C941-A954-ECEB1D73C182}" type="pres">
      <dgm:prSet presAssocID="{A93A9E4C-E7D0-FD43-9FB4-8DBFA8D52D70}" presName="negativeSpace" presStyleCnt="0"/>
      <dgm:spPr/>
    </dgm:pt>
    <dgm:pt modelId="{9E2F0AF7-B0CF-DE47-9E2C-AE76E7E9519D}" type="pres">
      <dgm:prSet presAssocID="{A93A9E4C-E7D0-FD43-9FB4-8DBFA8D52D70}" presName="childText" presStyleLbl="conFgAcc1" presStyleIdx="0" presStyleCnt="5">
        <dgm:presLayoutVars>
          <dgm:bulletEnabled val="1"/>
        </dgm:presLayoutVars>
      </dgm:prSet>
      <dgm:spPr/>
    </dgm:pt>
    <dgm:pt modelId="{1E896CF7-71DB-BA46-BCC8-B32C37BCC011}" type="pres">
      <dgm:prSet presAssocID="{9B94EF06-5AEB-7C4E-95D8-9DB2D3C38CA9}" presName="spaceBetweenRectangles" presStyleCnt="0"/>
      <dgm:spPr/>
    </dgm:pt>
    <dgm:pt modelId="{2F774065-091A-C342-B557-9BE67A791241}" type="pres">
      <dgm:prSet presAssocID="{E45252E5-FABB-8C40-806C-3AFF4E75FCE9}" presName="parentLin" presStyleCnt="0"/>
      <dgm:spPr/>
    </dgm:pt>
    <dgm:pt modelId="{4F42647B-5FE1-F944-B9A6-02B15E398CA6}" type="pres">
      <dgm:prSet presAssocID="{E45252E5-FABB-8C40-806C-3AFF4E75FCE9}" presName="parentLeftMargin" presStyleLbl="node1" presStyleIdx="0" presStyleCnt="5"/>
      <dgm:spPr/>
    </dgm:pt>
    <dgm:pt modelId="{24969E15-89B0-DB4E-942C-ADE1E6DD72DA}" type="pres">
      <dgm:prSet presAssocID="{E45252E5-FABB-8C40-806C-3AFF4E75FCE9}" presName="parentText" presStyleLbl="node1" presStyleIdx="1" presStyleCnt="5">
        <dgm:presLayoutVars>
          <dgm:chMax val="0"/>
          <dgm:bulletEnabled val="1"/>
        </dgm:presLayoutVars>
      </dgm:prSet>
      <dgm:spPr/>
    </dgm:pt>
    <dgm:pt modelId="{5AD1F038-EBEF-5245-8003-C66C3C8DAC3C}" type="pres">
      <dgm:prSet presAssocID="{E45252E5-FABB-8C40-806C-3AFF4E75FCE9}" presName="negativeSpace" presStyleCnt="0"/>
      <dgm:spPr/>
    </dgm:pt>
    <dgm:pt modelId="{148FE86C-F7F1-464B-9BC2-28B1D508CF71}" type="pres">
      <dgm:prSet presAssocID="{E45252E5-FABB-8C40-806C-3AFF4E75FCE9}" presName="childText" presStyleLbl="conFgAcc1" presStyleIdx="1" presStyleCnt="5">
        <dgm:presLayoutVars>
          <dgm:bulletEnabled val="1"/>
        </dgm:presLayoutVars>
      </dgm:prSet>
      <dgm:spPr/>
    </dgm:pt>
    <dgm:pt modelId="{923AB11A-1A4C-834B-B05F-23B2763C473D}" type="pres">
      <dgm:prSet presAssocID="{52E1C086-FA7D-2241-9528-6BB9F16171F3}" presName="spaceBetweenRectangles" presStyleCnt="0"/>
      <dgm:spPr/>
    </dgm:pt>
    <dgm:pt modelId="{DA09A063-9B24-C248-8788-BC99DC1183B5}" type="pres">
      <dgm:prSet presAssocID="{14DA0B7A-897A-7C41-9759-93C7D9C8F0EA}" presName="parentLin" presStyleCnt="0"/>
      <dgm:spPr/>
    </dgm:pt>
    <dgm:pt modelId="{9FD7E78C-A84A-B74A-AD8A-66884C7B0B40}" type="pres">
      <dgm:prSet presAssocID="{14DA0B7A-897A-7C41-9759-93C7D9C8F0EA}" presName="parentLeftMargin" presStyleLbl="node1" presStyleIdx="1" presStyleCnt="5"/>
      <dgm:spPr/>
    </dgm:pt>
    <dgm:pt modelId="{AA435AA0-F75A-DB47-8EBE-6CA64DE63185}" type="pres">
      <dgm:prSet presAssocID="{14DA0B7A-897A-7C41-9759-93C7D9C8F0EA}" presName="parentText" presStyleLbl="node1" presStyleIdx="2" presStyleCnt="5">
        <dgm:presLayoutVars>
          <dgm:chMax val="0"/>
          <dgm:bulletEnabled val="1"/>
        </dgm:presLayoutVars>
      </dgm:prSet>
      <dgm:spPr/>
    </dgm:pt>
    <dgm:pt modelId="{11F14FCC-515A-F048-A7E0-3610F67C7C83}" type="pres">
      <dgm:prSet presAssocID="{14DA0B7A-897A-7C41-9759-93C7D9C8F0EA}" presName="negativeSpace" presStyleCnt="0"/>
      <dgm:spPr/>
    </dgm:pt>
    <dgm:pt modelId="{3C94F0F8-7EBF-BD4E-A0AD-A901A507D912}" type="pres">
      <dgm:prSet presAssocID="{14DA0B7A-897A-7C41-9759-93C7D9C8F0EA}" presName="childText" presStyleLbl="conFgAcc1" presStyleIdx="2" presStyleCnt="5">
        <dgm:presLayoutVars>
          <dgm:bulletEnabled val="1"/>
        </dgm:presLayoutVars>
      </dgm:prSet>
      <dgm:spPr/>
    </dgm:pt>
    <dgm:pt modelId="{3BCC1E28-0F08-2747-9E78-F6549F44FA6E}" type="pres">
      <dgm:prSet presAssocID="{E0F68FFC-15D7-CF4B-8542-EE341028D7F9}" presName="spaceBetweenRectangles" presStyleCnt="0"/>
      <dgm:spPr/>
    </dgm:pt>
    <dgm:pt modelId="{471C8B6E-FB50-404F-B174-C29FC5E4EEA9}" type="pres">
      <dgm:prSet presAssocID="{83FDFBF5-3880-C34C-9F88-A7C7CC3A1EA2}" presName="parentLin" presStyleCnt="0"/>
      <dgm:spPr/>
    </dgm:pt>
    <dgm:pt modelId="{64A5510A-84FE-8249-BA76-EF103C6C9647}" type="pres">
      <dgm:prSet presAssocID="{83FDFBF5-3880-C34C-9F88-A7C7CC3A1EA2}" presName="parentLeftMargin" presStyleLbl="node1" presStyleIdx="2" presStyleCnt="5"/>
      <dgm:spPr/>
    </dgm:pt>
    <dgm:pt modelId="{0D425566-CC0E-4340-ACE4-391D78717F61}" type="pres">
      <dgm:prSet presAssocID="{83FDFBF5-3880-C34C-9F88-A7C7CC3A1EA2}" presName="parentText" presStyleLbl="node1" presStyleIdx="3" presStyleCnt="5">
        <dgm:presLayoutVars>
          <dgm:chMax val="0"/>
          <dgm:bulletEnabled val="1"/>
        </dgm:presLayoutVars>
      </dgm:prSet>
      <dgm:spPr/>
    </dgm:pt>
    <dgm:pt modelId="{75B8033C-CCF6-F242-ACF7-58DC0B591607}" type="pres">
      <dgm:prSet presAssocID="{83FDFBF5-3880-C34C-9F88-A7C7CC3A1EA2}" presName="negativeSpace" presStyleCnt="0"/>
      <dgm:spPr/>
    </dgm:pt>
    <dgm:pt modelId="{9C96D635-3AD3-1F42-AD18-0EC08EF7EBDC}" type="pres">
      <dgm:prSet presAssocID="{83FDFBF5-3880-C34C-9F88-A7C7CC3A1EA2}" presName="childText" presStyleLbl="conFgAcc1" presStyleIdx="3" presStyleCnt="5">
        <dgm:presLayoutVars>
          <dgm:bulletEnabled val="1"/>
        </dgm:presLayoutVars>
      </dgm:prSet>
      <dgm:spPr/>
    </dgm:pt>
    <dgm:pt modelId="{BF45CEAA-F6D1-514A-BEFE-B281AF5F332A}" type="pres">
      <dgm:prSet presAssocID="{1A6786D2-A08D-E049-AFB2-E72E5DCEFF2F}" presName="spaceBetweenRectangles" presStyleCnt="0"/>
      <dgm:spPr/>
    </dgm:pt>
    <dgm:pt modelId="{302445E5-B212-B74B-BC22-BBD04711E7EC}" type="pres">
      <dgm:prSet presAssocID="{AE805E67-4EA8-E44E-977C-CE7A6905D586}" presName="parentLin" presStyleCnt="0"/>
      <dgm:spPr/>
    </dgm:pt>
    <dgm:pt modelId="{937FDAAE-016D-BC4E-A685-8EEBB740AD06}" type="pres">
      <dgm:prSet presAssocID="{AE805E67-4EA8-E44E-977C-CE7A6905D586}" presName="parentLeftMargin" presStyleLbl="node1" presStyleIdx="3" presStyleCnt="5"/>
      <dgm:spPr/>
    </dgm:pt>
    <dgm:pt modelId="{7D485CAA-7719-AC4E-8C5B-2C4474330F40}" type="pres">
      <dgm:prSet presAssocID="{AE805E67-4EA8-E44E-977C-CE7A6905D586}" presName="parentText" presStyleLbl="node1" presStyleIdx="4" presStyleCnt="5">
        <dgm:presLayoutVars>
          <dgm:chMax val="0"/>
          <dgm:bulletEnabled val="1"/>
        </dgm:presLayoutVars>
      </dgm:prSet>
      <dgm:spPr/>
    </dgm:pt>
    <dgm:pt modelId="{EA2DA0A2-24D7-C641-99D9-C7944799A41E}" type="pres">
      <dgm:prSet presAssocID="{AE805E67-4EA8-E44E-977C-CE7A6905D586}" presName="negativeSpace" presStyleCnt="0"/>
      <dgm:spPr/>
    </dgm:pt>
    <dgm:pt modelId="{A87A1472-9EB7-E846-9293-8193BC393C82}" type="pres">
      <dgm:prSet presAssocID="{AE805E67-4EA8-E44E-977C-CE7A6905D586}" presName="childText" presStyleLbl="conFgAcc1" presStyleIdx="4" presStyleCnt="5">
        <dgm:presLayoutVars>
          <dgm:bulletEnabled val="1"/>
        </dgm:presLayoutVars>
      </dgm:prSet>
      <dgm:spPr/>
    </dgm:pt>
  </dgm:ptLst>
  <dgm:cxnLst>
    <dgm:cxn modelId="{E7AF570F-7743-084D-A4C6-03946B79666D}" type="presOf" srcId="{E45252E5-FABB-8C40-806C-3AFF4E75FCE9}" destId="{24969E15-89B0-DB4E-942C-ADE1E6DD72DA}" srcOrd="1" destOrd="0" presId="urn:microsoft.com/office/officeart/2005/8/layout/list1"/>
    <dgm:cxn modelId="{B2C36A1C-98BB-7349-AF63-BBF4D3A96919}" type="presOf" srcId="{E45252E5-FABB-8C40-806C-3AFF4E75FCE9}" destId="{4F42647B-5FE1-F944-B9A6-02B15E398CA6}" srcOrd="0" destOrd="0" presId="urn:microsoft.com/office/officeart/2005/8/layout/list1"/>
    <dgm:cxn modelId="{EFDAB21D-16B5-8C4A-8E91-49A399599D2F}" type="presOf" srcId="{6D9B0BE5-F451-AE44-9B29-AE62DFDE9BAD}" destId="{E476EC1A-90F9-D34F-BC2A-4A475173752C}" srcOrd="0" destOrd="0" presId="urn:microsoft.com/office/officeart/2005/8/layout/list1"/>
    <dgm:cxn modelId="{5921D81E-C961-5041-A1DF-0F2C4F7553B6}" srcId="{6D9B0BE5-F451-AE44-9B29-AE62DFDE9BAD}" destId="{A93A9E4C-E7D0-FD43-9FB4-8DBFA8D52D70}" srcOrd="0" destOrd="0" parTransId="{2A68335A-5EE8-7946-BC00-E2667CBF3CE7}" sibTransId="{9B94EF06-5AEB-7C4E-95D8-9DB2D3C38CA9}"/>
    <dgm:cxn modelId="{76359A21-015D-9442-9B65-DD5DD698358D}" type="presOf" srcId="{EE9B5B14-4192-B544-8D06-140DBCB1760F}" destId="{9C96D635-3AD3-1F42-AD18-0EC08EF7EBDC}" srcOrd="0" destOrd="0" presId="urn:microsoft.com/office/officeart/2005/8/layout/list1"/>
    <dgm:cxn modelId="{14238125-D511-E447-BD84-9C8E1D97DCB6}" type="presOf" srcId="{AE805E67-4EA8-E44E-977C-CE7A6905D586}" destId="{7D485CAA-7719-AC4E-8C5B-2C4474330F40}" srcOrd="1" destOrd="0" presId="urn:microsoft.com/office/officeart/2005/8/layout/list1"/>
    <dgm:cxn modelId="{432C4D27-CAD7-C745-84F0-A63895B3A2D1}" type="presOf" srcId="{14DA0B7A-897A-7C41-9759-93C7D9C8F0EA}" destId="{AA435AA0-F75A-DB47-8EBE-6CA64DE63185}" srcOrd="1" destOrd="0" presId="urn:microsoft.com/office/officeart/2005/8/layout/list1"/>
    <dgm:cxn modelId="{0C3DDE28-921C-6742-A8A9-23F69E4B84AF}" type="presOf" srcId="{83FDFBF5-3880-C34C-9F88-A7C7CC3A1EA2}" destId="{64A5510A-84FE-8249-BA76-EF103C6C9647}" srcOrd="0" destOrd="0" presId="urn:microsoft.com/office/officeart/2005/8/layout/list1"/>
    <dgm:cxn modelId="{0F58922A-6BE6-8245-AB47-48401CFE1338}" srcId="{A93A9E4C-E7D0-FD43-9FB4-8DBFA8D52D70}" destId="{4EE8D05E-A4E5-1243-8B9B-9983FA8372EE}" srcOrd="0" destOrd="0" parTransId="{79BECABF-9AD7-7540-B6C3-C11556F8E677}" sibTransId="{97D55AD6-5E27-B74E-BBB0-80229D733427}"/>
    <dgm:cxn modelId="{45491C3C-415F-C944-BDD6-C6AAA0DABBA1}" type="presOf" srcId="{432D8100-34C0-124F-A21D-3C60EC9490D2}" destId="{A87A1472-9EB7-E846-9293-8193BC393C82}" srcOrd="0" destOrd="0" presId="urn:microsoft.com/office/officeart/2005/8/layout/list1"/>
    <dgm:cxn modelId="{65CB343F-7DD9-674C-BB3F-E9E9E18F896D}" type="presOf" srcId="{4EE8D05E-A4E5-1243-8B9B-9983FA8372EE}" destId="{9E2F0AF7-B0CF-DE47-9E2C-AE76E7E9519D}" srcOrd="0" destOrd="0" presId="urn:microsoft.com/office/officeart/2005/8/layout/list1"/>
    <dgm:cxn modelId="{13E93042-B2D6-DC4F-AFDE-21729E440710}" srcId="{E45252E5-FABB-8C40-806C-3AFF4E75FCE9}" destId="{3DA67FA2-A5B7-9943-848C-6964B9A4582D}" srcOrd="0" destOrd="0" parTransId="{CC74A22A-DD9D-E845-8FAA-88AF0EED7ED7}" sibTransId="{679867D5-7138-3347-A798-3B53C48740FF}"/>
    <dgm:cxn modelId="{07349645-FFF4-7D45-9C85-B35FD931BE90}" type="presOf" srcId="{A93A9E4C-E7D0-FD43-9FB4-8DBFA8D52D70}" destId="{D3FC7012-1DAA-DA46-ADBE-C16636B8D9DC}" srcOrd="1" destOrd="0" presId="urn:microsoft.com/office/officeart/2005/8/layout/list1"/>
    <dgm:cxn modelId="{64AB747B-70D3-BB4D-B4F4-9B27A1465802}" srcId="{6D9B0BE5-F451-AE44-9B29-AE62DFDE9BAD}" destId="{E45252E5-FABB-8C40-806C-3AFF4E75FCE9}" srcOrd="1" destOrd="0" parTransId="{EFF56ECC-82CF-9E48-8A6B-9F7BE1AD3166}" sibTransId="{52E1C086-FA7D-2241-9528-6BB9F16171F3}"/>
    <dgm:cxn modelId="{37A99F7E-F79A-E041-9D66-057E5B5F1123}" type="presOf" srcId="{AE805E67-4EA8-E44E-977C-CE7A6905D586}" destId="{937FDAAE-016D-BC4E-A685-8EEBB740AD06}" srcOrd="0" destOrd="0" presId="urn:microsoft.com/office/officeart/2005/8/layout/list1"/>
    <dgm:cxn modelId="{2D1BE383-32E5-944F-9DBC-43242E504728}" type="presOf" srcId="{3DA67FA2-A5B7-9943-848C-6964B9A4582D}" destId="{148FE86C-F7F1-464B-9BC2-28B1D508CF71}" srcOrd="0" destOrd="0" presId="urn:microsoft.com/office/officeart/2005/8/layout/list1"/>
    <dgm:cxn modelId="{F0593E88-DE20-114A-A748-1E4C4F5E9767}" srcId="{6D9B0BE5-F451-AE44-9B29-AE62DFDE9BAD}" destId="{AE805E67-4EA8-E44E-977C-CE7A6905D586}" srcOrd="4" destOrd="0" parTransId="{F62ACB79-F0B7-564F-A02E-275C0C646988}" sibTransId="{20A19F98-901A-124B-B679-5A49740AA061}"/>
    <dgm:cxn modelId="{3EFB1B95-BA81-7D47-8846-18B76C97964C}" type="presOf" srcId="{A93A9E4C-E7D0-FD43-9FB4-8DBFA8D52D70}" destId="{4613B049-B51C-7340-82B5-EB44FE099D8B}" srcOrd="0" destOrd="0" presId="urn:microsoft.com/office/officeart/2005/8/layout/list1"/>
    <dgm:cxn modelId="{89450CA1-C46A-A344-9450-6A98D6B5260D}" type="presOf" srcId="{D3AEB795-FE68-E646-9D7C-9190D59BF2E6}" destId="{3C94F0F8-7EBF-BD4E-A0AD-A901A507D912}" srcOrd="0" destOrd="0" presId="urn:microsoft.com/office/officeart/2005/8/layout/list1"/>
    <dgm:cxn modelId="{12A349A2-A1C9-6A4A-9697-95C34121F512}" srcId="{AE805E67-4EA8-E44E-977C-CE7A6905D586}" destId="{432D8100-34C0-124F-A21D-3C60EC9490D2}" srcOrd="0" destOrd="0" parTransId="{2878E7FB-3156-C94A-A868-8DED3951D37A}" sibTransId="{BAEF5E5E-31ED-B542-80F8-75137909A283}"/>
    <dgm:cxn modelId="{45DDF9A6-129C-CD40-8757-57F97090BC95}" srcId="{83FDFBF5-3880-C34C-9F88-A7C7CC3A1EA2}" destId="{EE9B5B14-4192-B544-8D06-140DBCB1760F}" srcOrd="0" destOrd="0" parTransId="{298DC2EF-5E4E-AB41-BA4A-4885822E4CD9}" sibTransId="{55157C8F-4897-124A-BD73-1C627EAD8E07}"/>
    <dgm:cxn modelId="{84993AB0-7075-DE4A-A5B4-9CAF94740A6F}" srcId="{6D9B0BE5-F451-AE44-9B29-AE62DFDE9BAD}" destId="{14DA0B7A-897A-7C41-9759-93C7D9C8F0EA}" srcOrd="2" destOrd="0" parTransId="{D2B86BAF-5275-4D4D-9C82-E31191138425}" sibTransId="{E0F68FFC-15D7-CF4B-8542-EE341028D7F9}"/>
    <dgm:cxn modelId="{E49190C2-E581-D34C-B8BE-652EB5477343}" srcId="{14DA0B7A-897A-7C41-9759-93C7D9C8F0EA}" destId="{D3AEB795-FE68-E646-9D7C-9190D59BF2E6}" srcOrd="0" destOrd="0" parTransId="{38CBD077-309E-5545-9546-2A8C770923BB}" sibTransId="{5176627F-11F5-D04E-9490-5939105E5EB4}"/>
    <dgm:cxn modelId="{DBFDD6D2-463A-244E-921C-BC50EE2E21EB}" srcId="{6D9B0BE5-F451-AE44-9B29-AE62DFDE9BAD}" destId="{83FDFBF5-3880-C34C-9F88-A7C7CC3A1EA2}" srcOrd="3" destOrd="0" parTransId="{64C92EAF-A4BF-6240-8D33-6CF3A1E0E8EA}" sibTransId="{1A6786D2-A08D-E049-AFB2-E72E5DCEFF2F}"/>
    <dgm:cxn modelId="{57963EDF-9F7B-214D-AE5F-8A740747E3B9}" type="presOf" srcId="{14DA0B7A-897A-7C41-9759-93C7D9C8F0EA}" destId="{9FD7E78C-A84A-B74A-AD8A-66884C7B0B40}" srcOrd="0" destOrd="0" presId="urn:microsoft.com/office/officeart/2005/8/layout/list1"/>
    <dgm:cxn modelId="{B606F0E3-A7FC-164C-BAE5-E1971F3E6DCF}" type="presOf" srcId="{83FDFBF5-3880-C34C-9F88-A7C7CC3A1EA2}" destId="{0D425566-CC0E-4340-ACE4-391D78717F61}" srcOrd="1" destOrd="0" presId="urn:microsoft.com/office/officeart/2005/8/layout/list1"/>
    <dgm:cxn modelId="{48B25B01-83F1-CC4B-BED0-305FC84D9895}" type="presParOf" srcId="{E476EC1A-90F9-D34F-BC2A-4A475173752C}" destId="{2ECE834A-9631-2546-BFB1-CCE5B9E5A588}" srcOrd="0" destOrd="0" presId="urn:microsoft.com/office/officeart/2005/8/layout/list1"/>
    <dgm:cxn modelId="{3296BA87-A61C-D64A-9879-BC58601E7985}" type="presParOf" srcId="{2ECE834A-9631-2546-BFB1-CCE5B9E5A588}" destId="{4613B049-B51C-7340-82B5-EB44FE099D8B}" srcOrd="0" destOrd="0" presId="urn:microsoft.com/office/officeart/2005/8/layout/list1"/>
    <dgm:cxn modelId="{8C90BE53-08DB-4841-8A9D-87CDEAB3F03E}" type="presParOf" srcId="{2ECE834A-9631-2546-BFB1-CCE5B9E5A588}" destId="{D3FC7012-1DAA-DA46-ADBE-C16636B8D9DC}" srcOrd="1" destOrd="0" presId="urn:microsoft.com/office/officeart/2005/8/layout/list1"/>
    <dgm:cxn modelId="{1C85A3F0-16B5-7041-B715-FE233979D83C}" type="presParOf" srcId="{E476EC1A-90F9-D34F-BC2A-4A475173752C}" destId="{D0825032-4896-C941-A954-ECEB1D73C182}" srcOrd="1" destOrd="0" presId="urn:microsoft.com/office/officeart/2005/8/layout/list1"/>
    <dgm:cxn modelId="{2CD64C34-3BFA-7642-81C4-5FBDAADA851E}" type="presParOf" srcId="{E476EC1A-90F9-D34F-BC2A-4A475173752C}" destId="{9E2F0AF7-B0CF-DE47-9E2C-AE76E7E9519D}" srcOrd="2" destOrd="0" presId="urn:microsoft.com/office/officeart/2005/8/layout/list1"/>
    <dgm:cxn modelId="{4C6FFD47-6BF7-2043-AB8D-FBE225A93656}" type="presParOf" srcId="{E476EC1A-90F9-D34F-BC2A-4A475173752C}" destId="{1E896CF7-71DB-BA46-BCC8-B32C37BCC011}" srcOrd="3" destOrd="0" presId="urn:microsoft.com/office/officeart/2005/8/layout/list1"/>
    <dgm:cxn modelId="{8CCFEED8-5C64-914D-A2BA-4F29B74A3802}" type="presParOf" srcId="{E476EC1A-90F9-D34F-BC2A-4A475173752C}" destId="{2F774065-091A-C342-B557-9BE67A791241}" srcOrd="4" destOrd="0" presId="urn:microsoft.com/office/officeart/2005/8/layout/list1"/>
    <dgm:cxn modelId="{C65530AF-BAB0-AD41-90C6-F67969D46180}" type="presParOf" srcId="{2F774065-091A-C342-B557-9BE67A791241}" destId="{4F42647B-5FE1-F944-B9A6-02B15E398CA6}" srcOrd="0" destOrd="0" presId="urn:microsoft.com/office/officeart/2005/8/layout/list1"/>
    <dgm:cxn modelId="{63495828-4E63-E643-B057-27E2A1964274}" type="presParOf" srcId="{2F774065-091A-C342-B557-9BE67A791241}" destId="{24969E15-89B0-DB4E-942C-ADE1E6DD72DA}" srcOrd="1" destOrd="0" presId="urn:microsoft.com/office/officeart/2005/8/layout/list1"/>
    <dgm:cxn modelId="{F3D4CDAA-B4EA-9047-8712-AE8EA8CC2D7E}" type="presParOf" srcId="{E476EC1A-90F9-D34F-BC2A-4A475173752C}" destId="{5AD1F038-EBEF-5245-8003-C66C3C8DAC3C}" srcOrd="5" destOrd="0" presId="urn:microsoft.com/office/officeart/2005/8/layout/list1"/>
    <dgm:cxn modelId="{941472A7-454A-4C44-A1DF-680AA085E32A}" type="presParOf" srcId="{E476EC1A-90F9-D34F-BC2A-4A475173752C}" destId="{148FE86C-F7F1-464B-9BC2-28B1D508CF71}" srcOrd="6" destOrd="0" presId="urn:microsoft.com/office/officeart/2005/8/layout/list1"/>
    <dgm:cxn modelId="{289F9C37-48BD-3D47-BEE6-A59C042C945A}" type="presParOf" srcId="{E476EC1A-90F9-D34F-BC2A-4A475173752C}" destId="{923AB11A-1A4C-834B-B05F-23B2763C473D}" srcOrd="7" destOrd="0" presId="urn:microsoft.com/office/officeart/2005/8/layout/list1"/>
    <dgm:cxn modelId="{E562D7D5-4420-3C4F-8556-C77B7CEBD930}" type="presParOf" srcId="{E476EC1A-90F9-D34F-BC2A-4A475173752C}" destId="{DA09A063-9B24-C248-8788-BC99DC1183B5}" srcOrd="8" destOrd="0" presId="urn:microsoft.com/office/officeart/2005/8/layout/list1"/>
    <dgm:cxn modelId="{10DF0A57-3944-9C4C-8DF7-8534AB9067DB}" type="presParOf" srcId="{DA09A063-9B24-C248-8788-BC99DC1183B5}" destId="{9FD7E78C-A84A-B74A-AD8A-66884C7B0B40}" srcOrd="0" destOrd="0" presId="urn:microsoft.com/office/officeart/2005/8/layout/list1"/>
    <dgm:cxn modelId="{A320FD16-6D87-A44A-8D55-345AA41F033F}" type="presParOf" srcId="{DA09A063-9B24-C248-8788-BC99DC1183B5}" destId="{AA435AA0-F75A-DB47-8EBE-6CA64DE63185}" srcOrd="1" destOrd="0" presId="urn:microsoft.com/office/officeart/2005/8/layout/list1"/>
    <dgm:cxn modelId="{ED6977FC-1040-8F47-B748-E3A396A634AF}" type="presParOf" srcId="{E476EC1A-90F9-D34F-BC2A-4A475173752C}" destId="{11F14FCC-515A-F048-A7E0-3610F67C7C83}" srcOrd="9" destOrd="0" presId="urn:microsoft.com/office/officeart/2005/8/layout/list1"/>
    <dgm:cxn modelId="{08C76F0C-78A2-5E46-9722-DB6DAB7D5BF6}" type="presParOf" srcId="{E476EC1A-90F9-D34F-BC2A-4A475173752C}" destId="{3C94F0F8-7EBF-BD4E-A0AD-A901A507D912}" srcOrd="10" destOrd="0" presId="urn:microsoft.com/office/officeart/2005/8/layout/list1"/>
    <dgm:cxn modelId="{B00396B1-7A4D-3142-9034-E21DDE04A27F}" type="presParOf" srcId="{E476EC1A-90F9-D34F-BC2A-4A475173752C}" destId="{3BCC1E28-0F08-2747-9E78-F6549F44FA6E}" srcOrd="11" destOrd="0" presId="urn:microsoft.com/office/officeart/2005/8/layout/list1"/>
    <dgm:cxn modelId="{DB7C4732-5005-3E4A-A86A-FC23A9F5198B}" type="presParOf" srcId="{E476EC1A-90F9-D34F-BC2A-4A475173752C}" destId="{471C8B6E-FB50-404F-B174-C29FC5E4EEA9}" srcOrd="12" destOrd="0" presId="urn:microsoft.com/office/officeart/2005/8/layout/list1"/>
    <dgm:cxn modelId="{616EB7C0-489D-6C4C-8949-6347D9B54021}" type="presParOf" srcId="{471C8B6E-FB50-404F-B174-C29FC5E4EEA9}" destId="{64A5510A-84FE-8249-BA76-EF103C6C9647}" srcOrd="0" destOrd="0" presId="urn:microsoft.com/office/officeart/2005/8/layout/list1"/>
    <dgm:cxn modelId="{67941FA9-0D39-354E-884F-4FD194B037E4}" type="presParOf" srcId="{471C8B6E-FB50-404F-B174-C29FC5E4EEA9}" destId="{0D425566-CC0E-4340-ACE4-391D78717F61}" srcOrd="1" destOrd="0" presId="urn:microsoft.com/office/officeart/2005/8/layout/list1"/>
    <dgm:cxn modelId="{0A842398-618F-DA40-B349-F0868F270DD6}" type="presParOf" srcId="{E476EC1A-90F9-D34F-BC2A-4A475173752C}" destId="{75B8033C-CCF6-F242-ACF7-58DC0B591607}" srcOrd="13" destOrd="0" presId="urn:microsoft.com/office/officeart/2005/8/layout/list1"/>
    <dgm:cxn modelId="{06F29FE4-5559-AB47-8DB3-FD529E88D6F6}" type="presParOf" srcId="{E476EC1A-90F9-D34F-BC2A-4A475173752C}" destId="{9C96D635-3AD3-1F42-AD18-0EC08EF7EBDC}" srcOrd="14" destOrd="0" presId="urn:microsoft.com/office/officeart/2005/8/layout/list1"/>
    <dgm:cxn modelId="{B0E5F7AC-7445-0641-9658-AFE7AD3AC16D}" type="presParOf" srcId="{E476EC1A-90F9-D34F-BC2A-4A475173752C}" destId="{BF45CEAA-F6D1-514A-BEFE-B281AF5F332A}" srcOrd="15" destOrd="0" presId="urn:microsoft.com/office/officeart/2005/8/layout/list1"/>
    <dgm:cxn modelId="{6F7AC262-E4F7-FF49-9D69-126A08837749}" type="presParOf" srcId="{E476EC1A-90F9-D34F-BC2A-4A475173752C}" destId="{302445E5-B212-B74B-BC22-BBD04711E7EC}" srcOrd="16" destOrd="0" presId="urn:microsoft.com/office/officeart/2005/8/layout/list1"/>
    <dgm:cxn modelId="{31070D55-D70F-DB46-842E-A4A52BD535BF}" type="presParOf" srcId="{302445E5-B212-B74B-BC22-BBD04711E7EC}" destId="{937FDAAE-016D-BC4E-A685-8EEBB740AD06}" srcOrd="0" destOrd="0" presId="urn:microsoft.com/office/officeart/2005/8/layout/list1"/>
    <dgm:cxn modelId="{E835958D-8034-DB4D-B712-BC14F5EF55CE}" type="presParOf" srcId="{302445E5-B212-B74B-BC22-BBD04711E7EC}" destId="{7D485CAA-7719-AC4E-8C5B-2C4474330F40}" srcOrd="1" destOrd="0" presId="urn:microsoft.com/office/officeart/2005/8/layout/list1"/>
    <dgm:cxn modelId="{A7F74721-A9C5-FB4C-8181-83B7DA011BA8}" type="presParOf" srcId="{E476EC1A-90F9-D34F-BC2A-4A475173752C}" destId="{EA2DA0A2-24D7-C641-99D9-C7944799A41E}" srcOrd="17" destOrd="0" presId="urn:microsoft.com/office/officeart/2005/8/layout/list1"/>
    <dgm:cxn modelId="{AFF41EDF-2FB5-6542-91BF-375C6E12F949}" type="presParOf" srcId="{E476EC1A-90F9-D34F-BC2A-4A475173752C}" destId="{A87A1472-9EB7-E846-9293-8193BC393C82}"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D9B0BE5-F451-AE44-9B29-AE62DFDE9BAD}" type="doc">
      <dgm:prSet loTypeId="urn:microsoft.com/office/officeart/2005/8/layout/list1" loCatId="" qsTypeId="urn:microsoft.com/office/officeart/2005/8/quickstyle/simple1" qsCatId="simple" csTypeId="urn:microsoft.com/office/officeart/2005/8/colors/accent1_2" csCatId="accent1" phldr="1"/>
      <dgm:spPr/>
      <dgm:t>
        <a:bodyPr/>
        <a:lstStyle/>
        <a:p>
          <a:endParaRPr lang="en-US"/>
        </a:p>
      </dgm:t>
    </dgm:pt>
    <dgm:pt modelId="{A93A9E4C-E7D0-FD43-9FB4-8DBFA8D52D70}">
      <dgm:prSet phldrT="[Text]" custT="1"/>
      <dgm:spPr/>
      <dgm:t>
        <a:bodyPr/>
        <a:lstStyle/>
        <a:p>
          <a:r>
            <a:rPr lang="en-US" sz="1100" dirty="0"/>
            <a:t>DApp </a:t>
          </a:r>
        </a:p>
      </dgm:t>
    </dgm:pt>
    <dgm:pt modelId="{2A68335A-5EE8-7946-BC00-E2667CBF3CE7}" type="parTrans" cxnId="{5921D81E-C961-5041-A1DF-0F2C4F7553B6}">
      <dgm:prSet/>
      <dgm:spPr/>
      <dgm:t>
        <a:bodyPr/>
        <a:lstStyle/>
        <a:p>
          <a:endParaRPr lang="en-US"/>
        </a:p>
      </dgm:t>
    </dgm:pt>
    <dgm:pt modelId="{9B94EF06-5AEB-7C4E-95D8-9DB2D3C38CA9}" type="sibTrans" cxnId="{5921D81E-C961-5041-A1DF-0F2C4F7553B6}">
      <dgm:prSet/>
      <dgm:spPr/>
      <dgm:t>
        <a:bodyPr/>
        <a:lstStyle/>
        <a:p>
          <a:endParaRPr lang="en-US"/>
        </a:p>
      </dgm:t>
    </dgm:pt>
    <dgm:pt modelId="{E45252E5-FABB-8C40-806C-3AFF4E75FCE9}">
      <dgm:prSet phldrT="[Text]"/>
      <dgm:spPr/>
      <dgm:t>
        <a:bodyPr/>
        <a:lstStyle/>
        <a:p>
          <a:r>
            <a:rPr lang="en-US" dirty="0"/>
            <a:t>Semi-DApp </a:t>
          </a:r>
        </a:p>
      </dgm:t>
    </dgm:pt>
    <dgm:pt modelId="{EFF56ECC-82CF-9E48-8A6B-9F7BE1AD3166}" type="parTrans" cxnId="{64AB747B-70D3-BB4D-B4F4-9B27A1465802}">
      <dgm:prSet/>
      <dgm:spPr/>
      <dgm:t>
        <a:bodyPr/>
        <a:lstStyle/>
        <a:p>
          <a:endParaRPr lang="en-US"/>
        </a:p>
      </dgm:t>
    </dgm:pt>
    <dgm:pt modelId="{52E1C086-FA7D-2241-9528-6BB9F16171F3}" type="sibTrans" cxnId="{64AB747B-70D3-BB4D-B4F4-9B27A1465802}">
      <dgm:prSet/>
      <dgm:spPr/>
      <dgm:t>
        <a:bodyPr/>
        <a:lstStyle/>
        <a:p>
          <a:endParaRPr lang="en-US"/>
        </a:p>
      </dgm:t>
    </dgm:pt>
    <dgm:pt modelId="{4EE8D05E-A4E5-1243-8B9B-9983FA8372EE}">
      <dgm:prSet phldrT="[Text]" custT="1"/>
      <dgm:spPr/>
      <dgm:t>
        <a:bodyPr/>
        <a:lstStyle/>
        <a:p>
          <a:r>
            <a:rPr lang="en-US" sz="1100" dirty="0"/>
            <a:t>Blockchain-based application hosted on P2P network, with a website that allows users to interact with SCs</a:t>
          </a:r>
        </a:p>
      </dgm:t>
    </dgm:pt>
    <dgm:pt modelId="{79BECABF-9AD7-7540-B6C3-C11556F8E677}" type="parTrans" cxnId="{0F58922A-6BE6-8245-AB47-48401CFE1338}">
      <dgm:prSet/>
      <dgm:spPr/>
      <dgm:t>
        <a:bodyPr/>
        <a:lstStyle/>
        <a:p>
          <a:endParaRPr lang="en-US"/>
        </a:p>
      </dgm:t>
    </dgm:pt>
    <dgm:pt modelId="{97D55AD6-5E27-B74E-BBB0-80229D733427}" type="sibTrans" cxnId="{0F58922A-6BE6-8245-AB47-48401CFE1338}">
      <dgm:prSet/>
      <dgm:spPr/>
      <dgm:t>
        <a:bodyPr/>
        <a:lstStyle/>
        <a:p>
          <a:endParaRPr lang="en-US"/>
        </a:p>
      </dgm:t>
    </dgm:pt>
    <dgm:pt modelId="{3DA67FA2-A5B7-9943-848C-6964B9A4582D}">
      <dgm:prSet phldrT="[Text]" custT="1"/>
      <dgm:spPr/>
      <dgm:t>
        <a:bodyPr/>
        <a:lstStyle/>
        <a:p>
          <a:r>
            <a:rPr lang="en-US" sz="1050" dirty="0"/>
            <a:t>Blockchain-based application with a website that can be browsed using a conventional web browser without any </a:t>
          </a:r>
          <a:r>
            <a:rPr lang="en-US" sz="1050" dirty="0" err="1"/>
            <a:t>ADApp</a:t>
          </a:r>
          <a:r>
            <a:rPr lang="en-US" sz="1050" dirty="0"/>
            <a:t> plugin </a:t>
          </a:r>
        </a:p>
      </dgm:t>
    </dgm:pt>
    <dgm:pt modelId="{CC74A22A-DD9D-E845-8FAA-88AF0EED7ED7}" type="parTrans" cxnId="{13E93042-B2D6-DC4F-AFDE-21729E440710}">
      <dgm:prSet/>
      <dgm:spPr/>
      <dgm:t>
        <a:bodyPr/>
        <a:lstStyle/>
        <a:p>
          <a:endParaRPr lang="en-US"/>
        </a:p>
      </dgm:t>
    </dgm:pt>
    <dgm:pt modelId="{679867D5-7138-3347-A798-3B53C48740FF}" type="sibTrans" cxnId="{13E93042-B2D6-DC4F-AFDE-21729E440710}">
      <dgm:prSet/>
      <dgm:spPr/>
      <dgm:t>
        <a:bodyPr/>
        <a:lstStyle/>
        <a:p>
          <a:endParaRPr lang="en-US"/>
        </a:p>
      </dgm:t>
    </dgm:pt>
    <dgm:pt modelId="{E476EC1A-90F9-D34F-BC2A-4A475173752C}" type="pres">
      <dgm:prSet presAssocID="{6D9B0BE5-F451-AE44-9B29-AE62DFDE9BAD}" presName="linear" presStyleCnt="0">
        <dgm:presLayoutVars>
          <dgm:dir/>
          <dgm:animLvl val="lvl"/>
          <dgm:resizeHandles val="exact"/>
        </dgm:presLayoutVars>
      </dgm:prSet>
      <dgm:spPr/>
    </dgm:pt>
    <dgm:pt modelId="{2ECE834A-9631-2546-BFB1-CCE5B9E5A588}" type="pres">
      <dgm:prSet presAssocID="{A93A9E4C-E7D0-FD43-9FB4-8DBFA8D52D70}" presName="parentLin" presStyleCnt="0"/>
      <dgm:spPr/>
    </dgm:pt>
    <dgm:pt modelId="{4613B049-B51C-7340-82B5-EB44FE099D8B}" type="pres">
      <dgm:prSet presAssocID="{A93A9E4C-E7D0-FD43-9FB4-8DBFA8D52D70}" presName="parentLeftMargin" presStyleLbl="node1" presStyleIdx="0" presStyleCnt="2"/>
      <dgm:spPr/>
    </dgm:pt>
    <dgm:pt modelId="{D3FC7012-1DAA-DA46-ADBE-C16636B8D9DC}" type="pres">
      <dgm:prSet presAssocID="{A93A9E4C-E7D0-FD43-9FB4-8DBFA8D52D70}" presName="parentText" presStyleLbl="node1" presStyleIdx="0" presStyleCnt="2">
        <dgm:presLayoutVars>
          <dgm:chMax val="0"/>
          <dgm:bulletEnabled val="1"/>
        </dgm:presLayoutVars>
      </dgm:prSet>
      <dgm:spPr/>
    </dgm:pt>
    <dgm:pt modelId="{D0825032-4896-C941-A954-ECEB1D73C182}" type="pres">
      <dgm:prSet presAssocID="{A93A9E4C-E7D0-FD43-9FB4-8DBFA8D52D70}" presName="negativeSpace" presStyleCnt="0"/>
      <dgm:spPr/>
    </dgm:pt>
    <dgm:pt modelId="{9E2F0AF7-B0CF-DE47-9E2C-AE76E7E9519D}" type="pres">
      <dgm:prSet presAssocID="{A93A9E4C-E7D0-FD43-9FB4-8DBFA8D52D70}" presName="childText" presStyleLbl="conFgAcc1" presStyleIdx="0" presStyleCnt="2">
        <dgm:presLayoutVars>
          <dgm:bulletEnabled val="1"/>
        </dgm:presLayoutVars>
      </dgm:prSet>
      <dgm:spPr/>
    </dgm:pt>
    <dgm:pt modelId="{1E896CF7-71DB-BA46-BCC8-B32C37BCC011}" type="pres">
      <dgm:prSet presAssocID="{9B94EF06-5AEB-7C4E-95D8-9DB2D3C38CA9}" presName="spaceBetweenRectangles" presStyleCnt="0"/>
      <dgm:spPr/>
    </dgm:pt>
    <dgm:pt modelId="{2F774065-091A-C342-B557-9BE67A791241}" type="pres">
      <dgm:prSet presAssocID="{E45252E5-FABB-8C40-806C-3AFF4E75FCE9}" presName="parentLin" presStyleCnt="0"/>
      <dgm:spPr/>
    </dgm:pt>
    <dgm:pt modelId="{4F42647B-5FE1-F944-B9A6-02B15E398CA6}" type="pres">
      <dgm:prSet presAssocID="{E45252E5-FABB-8C40-806C-3AFF4E75FCE9}" presName="parentLeftMargin" presStyleLbl="node1" presStyleIdx="0" presStyleCnt="2"/>
      <dgm:spPr/>
    </dgm:pt>
    <dgm:pt modelId="{24969E15-89B0-DB4E-942C-ADE1E6DD72DA}" type="pres">
      <dgm:prSet presAssocID="{E45252E5-FABB-8C40-806C-3AFF4E75FCE9}" presName="parentText" presStyleLbl="node1" presStyleIdx="1" presStyleCnt="2">
        <dgm:presLayoutVars>
          <dgm:chMax val="0"/>
          <dgm:bulletEnabled val="1"/>
        </dgm:presLayoutVars>
      </dgm:prSet>
      <dgm:spPr/>
    </dgm:pt>
    <dgm:pt modelId="{5AD1F038-EBEF-5245-8003-C66C3C8DAC3C}" type="pres">
      <dgm:prSet presAssocID="{E45252E5-FABB-8C40-806C-3AFF4E75FCE9}" presName="negativeSpace" presStyleCnt="0"/>
      <dgm:spPr/>
    </dgm:pt>
    <dgm:pt modelId="{148FE86C-F7F1-464B-9BC2-28B1D508CF71}" type="pres">
      <dgm:prSet presAssocID="{E45252E5-FABB-8C40-806C-3AFF4E75FCE9}" presName="childText" presStyleLbl="conFgAcc1" presStyleIdx="1" presStyleCnt="2">
        <dgm:presLayoutVars>
          <dgm:bulletEnabled val="1"/>
        </dgm:presLayoutVars>
      </dgm:prSet>
      <dgm:spPr/>
    </dgm:pt>
  </dgm:ptLst>
  <dgm:cxnLst>
    <dgm:cxn modelId="{8960E51B-3E67-534F-A56C-BA79ABFAD294}" type="presOf" srcId="{A93A9E4C-E7D0-FD43-9FB4-8DBFA8D52D70}" destId="{D3FC7012-1DAA-DA46-ADBE-C16636B8D9DC}" srcOrd="1" destOrd="0" presId="urn:microsoft.com/office/officeart/2005/8/layout/list1"/>
    <dgm:cxn modelId="{5921D81E-C961-5041-A1DF-0F2C4F7553B6}" srcId="{6D9B0BE5-F451-AE44-9B29-AE62DFDE9BAD}" destId="{A93A9E4C-E7D0-FD43-9FB4-8DBFA8D52D70}" srcOrd="0" destOrd="0" parTransId="{2A68335A-5EE8-7946-BC00-E2667CBF3CE7}" sibTransId="{9B94EF06-5AEB-7C4E-95D8-9DB2D3C38CA9}"/>
    <dgm:cxn modelId="{5056B824-65AF-A34D-B463-B2A461C33044}" type="presOf" srcId="{E45252E5-FABB-8C40-806C-3AFF4E75FCE9}" destId="{4F42647B-5FE1-F944-B9A6-02B15E398CA6}" srcOrd="0" destOrd="0" presId="urn:microsoft.com/office/officeart/2005/8/layout/list1"/>
    <dgm:cxn modelId="{0F58922A-6BE6-8245-AB47-48401CFE1338}" srcId="{A93A9E4C-E7D0-FD43-9FB4-8DBFA8D52D70}" destId="{4EE8D05E-A4E5-1243-8B9B-9983FA8372EE}" srcOrd="0" destOrd="0" parTransId="{79BECABF-9AD7-7540-B6C3-C11556F8E677}" sibTransId="{97D55AD6-5E27-B74E-BBB0-80229D733427}"/>
    <dgm:cxn modelId="{523C053B-E4F8-194A-8A69-B3576D29F0F6}" type="presOf" srcId="{6D9B0BE5-F451-AE44-9B29-AE62DFDE9BAD}" destId="{E476EC1A-90F9-D34F-BC2A-4A475173752C}" srcOrd="0" destOrd="0" presId="urn:microsoft.com/office/officeart/2005/8/layout/list1"/>
    <dgm:cxn modelId="{13E93042-B2D6-DC4F-AFDE-21729E440710}" srcId="{E45252E5-FABB-8C40-806C-3AFF4E75FCE9}" destId="{3DA67FA2-A5B7-9943-848C-6964B9A4582D}" srcOrd="0" destOrd="0" parTransId="{CC74A22A-DD9D-E845-8FAA-88AF0EED7ED7}" sibTransId="{679867D5-7138-3347-A798-3B53C48740FF}"/>
    <dgm:cxn modelId="{33021C49-503F-A747-96D9-0B819A288A7E}" type="presOf" srcId="{4EE8D05E-A4E5-1243-8B9B-9983FA8372EE}" destId="{9E2F0AF7-B0CF-DE47-9E2C-AE76E7E9519D}" srcOrd="0" destOrd="0" presId="urn:microsoft.com/office/officeart/2005/8/layout/list1"/>
    <dgm:cxn modelId="{64AB747B-70D3-BB4D-B4F4-9B27A1465802}" srcId="{6D9B0BE5-F451-AE44-9B29-AE62DFDE9BAD}" destId="{E45252E5-FABB-8C40-806C-3AFF4E75FCE9}" srcOrd="1" destOrd="0" parTransId="{EFF56ECC-82CF-9E48-8A6B-9F7BE1AD3166}" sibTransId="{52E1C086-FA7D-2241-9528-6BB9F16171F3}"/>
    <dgm:cxn modelId="{78C36C91-33A3-F543-8290-636C826B65BE}" type="presOf" srcId="{3DA67FA2-A5B7-9943-848C-6964B9A4582D}" destId="{148FE86C-F7F1-464B-9BC2-28B1D508CF71}" srcOrd="0" destOrd="0" presId="urn:microsoft.com/office/officeart/2005/8/layout/list1"/>
    <dgm:cxn modelId="{ECE68E9B-79E3-BC4C-8261-933C804E0DC8}" type="presOf" srcId="{E45252E5-FABB-8C40-806C-3AFF4E75FCE9}" destId="{24969E15-89B0-DB4E-942C-ADE1E6DD72DA}" srcOrd="1" destOrd="0" presId="urn:microsoft.com/office/officeart/2005/8/layout/list1"/>
    <dgm:cxn modelId="{D1C66EDC-1953-9542-8E88-6C4EB62954D6}" type="presOf" srcId="{A93A9E4C-E7D0-FD43-9FB4-8DBFA8D52D70}" destId="{4613B049-B51C-7340-82B5-EB44FE099D8B}" srcOrd="0" destOrd="0" presId="urn:microsoft.com/office/officeart/2005/8/layout/list1"/>
    <dgm:cxn modelId="{E9FBE78B-A120-6A49-B6AF-C77B25B7D201}" type="presParOf" srcId="{E476EC1A-90F9-D34F-BC2A-4A475173752C}" destId="{2ECE834A-9631-2546-BFB1-CCE5B9E5A588}" srcOrd="0" destOrd="0" presId="urn:microsoft.com/office/officeart/2005/8/layout/list1"/>
    <dgm:cxn modelId="{F4559F57-386F-3D47-954C-189CDE8F4D7E}" type="presParOf" srcId="{2ECE834A-9631-2546-BFB1-CCE5B9E5A588}" destId="{4613B049-B51C-7340-82B5-EB44FE099D8B}" srcOrd="0" destOrd="0" presId="urn:microsoft.com/office/officeart/2005/8/layout/list1"/>
    <dgm:cxn modelId="{1FAB57A9-C45C-2F4C-9260-55CF4D307CA2}" type="presParOf" srcId="{2ECE834A-9631-2546-BFB1-CCE5B9E5A588}" destId="{D3FC7012-1DAA-DA46-ADBE-C16636B8D9DC}" srcOrd="1" destOrd="0" presId="urn:microsoft.com/office/officeart/2005/8/layout/list1"/>
    <dgm:cxn modelId="{FF84F298-4B0B-B24A-9075-3460C54BC4A6}" type="presParOf" srcId="{E476EC1A-90F9-D34F-BC2A-4A475173752C}" destId="{D0825032-4896-C941-A954-ECEB1D73C182}" srcOrd="1" destOrd="0" presId="urn:microsoft.com/office/officeart/2005/8/layout/list1"/>
    <dgm:cxn modelId="{A350D9F8-0051-1046-AA95-31B79282E19B}" type="presParOf" srcId="{E476EC1A-90F9-D34F-BC2A-4A475173752C}" destId="{9E2F0AF7-B0CF-DE47-9E2C-AE76E7E9519D}" srcOrd="2" destOrd="0" presId="urn:microsoft.com/office/officeart/2005/8/layout/list1"/>
    <dgm:cxn modelId="{2E470061-D87F-F940-B6FD-9B86F2015E60}" type="presParOf" srcId="{E476EC1A-90F9-D34F-BC2A-4A475173752C}" destId="{1E896CF7-71DB-BA46-BCC8-B32C37BCC011}" srcOrd="3" destOrd="0" presId="urn:microsoft.com/office/officeart/2005/8/layout/list1"/>
    <dgm:cxn modelId="{1BBEAA23-4472-DE40-94E9-E8F277631D7B}" type="presParOf" srcId="{E476EC1A-90F9-D34F-BC2A-4A475173752C}" destId="{2F774065-091A-C342-B557-9BE67A791241}" srcOrd="4" destOrd="0" presId="urn:microsoft.com/office/officeart/2005/8/layout/list1"/>
    <dgm:cxn modelId="{652ACACB-8DC6-9349-98AF-A3BD195BA482}" type="presParOf" srcId="{2F774065-091A-C342-B557-9BE67A791241}" destId="{4F42647B-5FE1-F944-B9A6-02B15E398CA6}" srcOrd="0" destOrd="0" presId="urn:microsoft.com/office/officeart/2005/8/layout/list1"/>
    <dgm:cxn modelId="{0161B6C8-E803-4B4A-8BDC-871EFCE49B8A}" type="presParOf" srcId="{2F774065-091A-C342-B557-9BE67A791241}" destId="{24969E15-89B0-DB4E-942C-ADE1E6DD72DA}" srcOrd="1" destOrd="0" presId="urn:microsoft.com/office/officeart/2005/8/layout/list1"/>
    <dgm:cxn modelId="{3DAFC454-3A55-2449-BA4F-F8040F6D5693}" type="presParOf" srcId="{E476EC1A-90F9-D34F-BC2A-4A475173752C}" destId="{5AD1F038-EBEF-5245-8003-C66C3C8DAC3C}" srcOrd="5" destOrd="0" presId="urn:microsoft.com/office/officeart/2005/8/layout/list1"/>
    <dgm:cxn modelId="{F37D9F9E-7211-9F4E-95F8-94CF11AC018A}" type="presParOf" srcId="{E476EC1A-90F9-D34F-BC2A-4A475173752C}" destId="{148FE86C-F7F1-464B-9BC2-28B1D508CF71}" srcOrd="6"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E76784-5D59-A743-AA47-5BB59FA4DAB7}">
      <dsp:nvSpPr>
        <dsp:cNvPr id="0" name=""/>
        <dsp:cNvSpPr/>
      </dsp:nvSpPr>
      <dsp:spPr>
        <a:xfrm rot="5400000">
          <a:off x="5230909" y="-2178716"/>
          <a:ext cx="721092" cy="526254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Describe a design problem, its solutions, &amp; consequences in a word or 2</a:t>
          </a:r>
        </a:p>
      </dsp:txBody>
      <dsp:txXfrm rot="-5400000">
        <a:off x="2960183" y="127211"/>
        <a:ext cx="5227345" cy="650690"/>
      </dsp:txXfrm>
    </dsp:sp>
    <dsp:sp modelId="{52061A9D-7382-2E4F-836A-E3E9AFEFA3C3}">
      <dsp:nvSpPr>
        <dsp:cNvPr id="0" name=""/>
        <dsp:cNvSpPr/>
      </dsp:nvSpPr>
      <dsp:spPr>
        <a:xfrm>
          <a:off x="0" y="1874"/>
          <a:ext cx="2960182" cy="90136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t>Pattern Name</a:t>
          </a:r>
        </a:p>
      </dsp:txBody>
      <dsp:txXfrm>
        <a:off x="44001" y="45875"/>
        <a:ext cx="2872180" cy="813363"/>
      </dsp:txXfrm>
    </dsp:sp>
    <dsp:sp modelId="{60BE5020-082D-AF49-8633-E123F720801E}">
      <dsp:nvSpPr>
        <dsp:cNvPr id="0" name=""/>
        <dsp:cNvSpPr/>
      </dsp:nvSpPr>
      <dsp:spPr>
        <a:xfrm rot="5400000">
          <a:off x="5230909" y="-1232282"/>
          <a:ext cx="721092" cy="526254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Explain problem &amp; its context</a:t>
          </a:r>
        </a:p>
        <a:p>
          <a:pPr marL="171450" lvl="1" indent="-171450" algn="l" defTabSz="844550">
            <a:lnSpc>
              <a:spcPct val="90000"/>
            </a:lnSpc>
            <a:spcBef>
              <a:spcPct val="0"/>
            </a:spcBef>
            <a:spcAft>
              <a:spcPct val="15000"/>
            </a:spcAft>
            <a:buChar char="•"/>
          </a:pPr>
          <a:r>
            <a:rPr lang="en-US" sz="1900" kern="1200" dirty="0"/>
            <a:t>Conditions must be met </a:t>
          </a:r>
        </a:p>
      </dsp:txBody>
      <dsp:txXfrm rot="-5400000">
        <a:off x="2960183" y="1073645"/>
        <a:ext cx="5227345" cy="650690"/>
      </dsp:txXfrm>
    </dsp:sp>
    <dsp:sp modelId="{629DAA03-DA31-0C4A-B441-2E198200C4D0}">
      <dsp:nvSpPr>
        <dsp:cNvPr id="0" name=""/>
        <dsp:cNvSpPr/>
      </dsp:nvSpPr>
      <dsp:spPr>
        <a:xfrm>
          <a:off x="0" y="948308"/>
          <a:ext cx="2960182" cy="90136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altLang="zh-CN" sz="3200" kern="1200" dirty="0"/>
            <a:t>Problem</a:t>
          </a:r>
          <a:endParaRPr lang="en-US" sz="3200" kern="1200" dirty="0"/>
        </a:p>
      </dsp:txBody>
      <dsp:txXfrm>
        <a:off x="44001" y="992309"/>
        <a:ext cx="2872180" cy="813363"/>
      </dsp:txXfrm>
    </dsp:sp>
    <dsp:sp modelId="{358B8DCD-C6CF-A249-B257-B9B0C3C2D81B}">
      <dsp:nvSpPr>
        <dsp:cNvPr id="0" name=""/>
        <dsp:cNvSpPr/>
      </dsp:nvSpPr>
      <dsp:spPr>
        <a:xfrm rot="5400000">
          <a:off x="5230909" y="-285848"/>
          <a:ext cx="721092" cy="526254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Describe elements that make up design</a:t>
          </a:r>
        </a:p>
        <a:p>
          <a:pPr marL="171450" lvl="1" indent="-171450" algn="l" defTabSz="844550">
            <a:lnSpc>
              <a:spcPct val="90000"/>
            </a:lnSpc>
            <a:spcBef>
              <a:spcPct val="0"/>
            </a:spcBef>
            <a:spcAft>
              <a:spcPct val="15000"/>
            </a:spcAft>
            <a:buChar char="•"/>
          </a:pPr>
          <a:r>
            <a:rPr lang="en-US" sz="1900" kern="1200" dirty="0"/>
            <a:t>Relationship, responsibilities, &amp; collaborations</a:t>
          </a:r>
        </a:p>
      </dsp:txBody>
      <dsp:txXfrm rot="-5400000">
        <a:off x="2960183" y="2020079"/>
        <a:ext cx="5227345" cy="650690"/>
      </dsp:txXfrm>
    </dsp:sp>
    <dsp:sp modelId="{F6C3F537-6E74-4E4D-83EE-39724C655B87}">
      <dsp:nvSpPr>
        <dsp:cNvPr id="0" name=""/>
        <dsp:cNvSpPr/>
      </dsp:nvSpPr>
      <dsp:spPr>
        <a:xfrm>
          <a:off x="0" y="1894742"/>
          <a:ext cx="2960182" cy="90136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t>Solution</a:t>
          </a:r>
          <a:endParaRPr lang="en-US" sz="3400" kern="1200" dirty="0"/>
        </a:p>
      </dsp:txBody>
      <dsp:txXfrm>
        <a:off x="44001" y="1938743"/>
        <a:ext cx="2872180" cy="813363"/>
      </dsp:txXfrm>
    </dsp:sp>
    <dsp:sp modelId="{1A08C2F4-B0D0-C944-A3D8-10732B5505B0}">
      <dsp:nvSpPr>
        <dsp:cNvPr id="0" name=""/>
        <dsp:cNvSpPr/>
      </dsp:nvSpPr>
      <dsp:spPr>
        <a:xfrm rot="5400000">
          <a:off x="5230909" y="660585"/>
          <a:ext cx="721092" cy="526254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t>Results &amp; trade-offs of applying pattern</a:t>
          </a:r>
        </a:p>
        <a:p>
          <a:pPr marL="171450" lvl="1" indent="-171450" algn="l" defTabSz="844550">
            <a:lnSpc>
              <a:spcPct val="90000"/>
            </a:lnSpc>
            <a:spcBef>
              <a:spcPct val="0"/>
            </a:spcBef>
            <a:spcAft>
              <a:spcPct val="15000"/>
            </a:spcAft>
            <a:buChar char="•"/>
          </a:pPr>
          <a:r>
            <a:rPr lang="en-US" sz="1900" kern="1200" dirty="0"/>
            <a:t>Critical for understanding cost-benefits</a:t>
          </a:r>
        </a:p>
      </dsp:txBody>
      <dsp:txXfrm rot="-5400000">
        <a:off x="2960183" y="2966513"/>
        <a:ext cx="5227345" cy="650690"/>
      </dsp:txXfrm>
    </dsp:sp>
    <dsp:sp modelId="{B1C09CFA-5BB7-EB4C-A384-D126A17254D2}">
      <dsp:nvSpPr>
        <dsp:cNvPr id="0" name=""/>
        <dsp:cNvSpPr/>
      </dsp:nvSpPr>
      <dsp:spPr>
        <a:xfrm>
          <a:off x="0" y="2841176"/>
          <a:ext cx="2960182" cy="90136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t>Consequence</a:t>
          </a:r>
          <a:endParaRPr lang="en-US" sz="3400" kern="1200" dirty="0"/>
        </a:p>
      </dsp:txBody>
      <dsp:txXfrm>
        <a:off x="44001" y="2885177"/>
        <a:ext cx="2872180" cy="8133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645229-794C-004D-A1C3-80B20FE346D6}">
      <dsp:nvSpPr>
        <dsp:cNvPr id="0" name=""/>
        <dsp:cNvSpPr/>
      </dsp:nvSpPr>
      <dsp:spPr>
        <a:xfrm>
          <a:off x="1199525" y="1998194"/>
          <a:ext cx="213344" cy="1834758"/>
        </a:xfrm>
        <a:custGeom>
          <a:avLst/>
          <a:gdLst/>
          <a:ahLst/>
          <a:cxnLst/>
          <a:rect l="0" t="0" r="0" b="0"/>
          <a:pathLst>
            <a:path>
              <a:moveTo>
                <a:pt x="0" y="0"/>
              </a:moveTo>
              <a:lnTo>
                <a:pt x="106672" y="0"/>
              </a:lnTo>
              <a:lnTo>
                <a:pt x="106672" y="1834758"/>
              </a:lnTo>
              <a:lnTo>
                <a:pt x="213344" y="1834758"/>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6416D42-0884-D447-B39A-6897E67A389B}">
      <dsp:nvSpPr>
        <dsp:cNvPr id="0" name=""/>
        <dsp:cNvSpPr/>
      </dsp:nvSpPr>
      <dsp:spPr>
        <a:xfrm>
          <a:off x="1199525" y="1998194"/>
          <a:ext cx="213344" cy="1376068"/>
        </a:xfrm>
        <a:custGeom>
          <a:avLst/>
          <a:gdLst/>
          <a:ahLst/>
          <a:cxnLst/>
          <a:rect l="0" t="0" r="0" b="0"/>
          <a:pathLst>
            <a:path>
              <a:moveTo>
                <a:pt x="0" y="0"/>
              </a:moveTo>
              <a:lnTo>
                <a:pt x="106672" y="0"/>
              </a:lnTo>
              <a:lnTo>
                <a:pt x="106672" y="1376068"/>
              </a:lnTo>
              <a:lnTo>
                <a:pt x="213344" y="1376068"/>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70A53D6-C946-F24F-837C-9831902AEC17}">
      <dsp:nvSpPr>
        <dsp:cNvPr id="0" name=""/>
        <dsp:cNvSpPr/>
      </dsp:nvSpPr>
      <dsp:spPr>
        <a:xfrm>
          <a:off x="2479589" y="2915573"/>
          <a:ext cx="213344" cy="229344"/>
        </a:xfrm>
        <a:custGeom>
          <a:avLst/>
          <a:gdLst/>
          <a:ahLst/>
          <a:cxnLst/>
          <a:rect l="0" t="0" r="0" b="0"/>
          <a:pathLst>
            <a:path>
              <a:moveTo>
                <a:pt x="0" y="0"/>
              </a:moveTo>
              <a:lnTo>
                <a:pt x="106672" y="0"/>
              </a:lnTo>
              <a:lnTo>
                <a:pt x="106672" y="229344"/>
              </a:lnTo>
              <a:lnTo>
                <a:pt x="213344" y="229344"/>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BD34C8-4476-0849-8E73-FD62361461B9}">
      <dsp:nvSpPr>
        <dsp:cNvPr id="0" name=""/>
        <dsp:cNvSpPr/>
      </dsp:nvSpPr>
      <dsp:spPr>
        <a:xfrm>
          <a:off x="2479589" y="2686228"/>
          <a:ext cx="213344" cy="229344"/>
        </a:xfrm>
        <a:custGeom>
          <a:avLst/>
          <a:gdLst/>
          <a:ahLst/>
          <a:cxnLst/>
          <a:rect l="0" t="0" r="0" b="0"/>
          <a:pathLst>
            <a:path>
              <a:moveTo>
                <a:pt x="0" y="229344"/>
              </a:moveTo>
              <a:lnTo>
                <a:pt x="106672" y="229344"/>
              </a:lnTo>
              <a:lnTo>
                <a:pt x="106672" y="0"/>
              </a:lnTo>
              <a:lnTo>
                <a:pt x="213344" y="0"/>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318C644-F6F3-4C4E-B8D5-EB3E2BC6AED7}">
      <dsp:nvSpPr>
        <dsp:cNvPr id="0" name=""/>
        <dsp:cNvSpPr/>
      </dsp:nvSpPr>
      <dsp:spPr>
        <a:xfrm>
          <a:off x="1199525" y="1998194"/>
          <a:ext cx="213344" cy="917379"/>
        </a:xfrm>
        <a:custGeom>
          <a:avLst/>
          <a:gdLst/>
          <a:ahLst/>
          <a:cxnLst/>
          <a:rect l="0" t="0" r="0" b="0"/>
          <a:pathLst>
            <a:path>
              <a:moveTo>
                <a:pt x="0" y="0"/>
              </a:moveTo>
              <a:lnTo>
                <a:pt x="106672" y="0"/>
              </a:lnTo>
              <a:lnTo>
                <a:pt x="106672" y="917379"/>
              </a:lnTo>
              <a:lnTo>
                <a:pt x="213344" y="917379"/>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887A7AC-EDAC-2F46-93F7-155DA1233AD6}">
      <dsp:nvSpPr>
        <dsp:cNvPr id="0" name=""/>
        <dsp:cNvSpPr/>
      </dsp:nvSpPr>
      <dsp:spPr>
        <a:xfrm>
          <a:off x="1199525" y="1998194"/>
          <a:ext cx="213344" cy="458689"/>
        </a:xfrm>
        <a:custGeom>
          <a:avLst/>
          <a:gdLst/>
          <a:ahLst/>
          <a:cxnLst/>
          <a:rect l="0" t="0" r="0" b="0"/>
          <a:pathLst>
            <a:path>
              <a:moveTo>
                <a:pt x="0" y="0"/>
              </a:moveTo>
              <a:lnTo>
                <a:pt x="106672" y="0"/>
              </a:lnTo>
              <a:lnTo>
                <a:pt x="106672" y="458689"/>
              </a:lnTo>
              <a:lnTo>
                <a:pt x="213344" y="458689"/>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B76CE1D-1986-3C42-8928-376342AF5685}">
      <dsp:nvSpPr>
        <dsp:cNvPr id="0" name=""/>
        <dsp:cNvSpPr/>
      </dsp:nvSpPr>
      <dsp:spPr>
        <a:xfrm>
          <a:off x="1199525" y="1952474"/>
          <a:ext cx="213344" cy="91440"/>
        </a:xfrm>
        <a:custGeom>
          <a:avLst/>
          <a:gdLst/>
          <a:ahLst/>
          <a:cxnLst/>
          <a:rect l="0" t="0" r="0" b="0"/>
          <a:pathLst>
            <a:path>
              <a:moveTo>
                <a:pt x="0" y="45720"/>
              </a:moveTo>
              <a:lnTo>
                <a:pt x="213344" y="4572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9F8DD7-7177-2E45-833E-F4DBA93E05F1}">
      <dsp:nvSpPr>
        <dsp:cNvPr id="0" name=""/>
        <dsp:cNvSpPr/>
      </dsp:nvSpPr>
      <dsp:spPr>
        <a:xfrm>
          <a:off x="1199525" y="1539504"/>
          <a:ext cx="213344" cy="458689"/>
        </a:xfrm>
        <a:custGeom>
          <a:avLst/>
          <a:gdLst/>
          <a:ahLst/>
          <a:cxnLst/>
          <a:rect l="0" t="0" r="0" b="0"/>
          <a:pathLst>
            <a:path>
              <a:moveTo>
                <a:pt x="0" y="458689"/>
              </a:moveTo>
              <a:lnTo>
                <a:pt x="106672" y="458689"/>
              </a:lnTo>
              <a:lnTo>
                <a:pt x="106672" y="0"/>
              </a:lnTo>
              <a:lnTo>
                <a:pt x="213344"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A6EDE1-DEC0-964A-9560-6EF604D22C5C}">
      <dsp:nvSpPr>
        <dsp:cNvPr id="0" name=""/>
        <dsp:cNvSpPr/>
      </dsp:nvSpPr>
      <dsp:spPr>
        <a:xfrm>
          <a:off x="1199525" y="1080814"/>
          <a:ext cx="213344" cy="917379"/>
        </a:xfrm>
        <a:custGeom>
          <a:avLst/>
          <a:gdLst/>
          <a:ahLst/>
          <a:cxnLst/>
          <a:rect l="0" t="0" r="0" b="0"/>
          <a:pathLst>
            <a:path>
              <a:moveTo>
                <a:pt x="0" y="917379"/>
              </a:moveTo>
              <a:lnTo>
                <a:pt x="106672" y="917379"/>
              </a:lnTo>
              <a:lnTo>
                <a:pt x="106672" y="0"/>
              </a:lnTo>
              <a:lnTo>
                <a:pt x="213344"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25B89C-BFAC-1749-BA34-E9E89FC4E403}">
      <dsp:nvSpPr>
        <dsp:cNvPr id="0" name=""/>
        <dsp:cNvSpPr/>
      </dsp:nvSpPr>
      <dsp:spPr>
        <a:xfrm>
          <a:off x="1199525" y="622125"/>
          <a:ext cx="213344" cy="1376068"/>
        </a:xfrm>
        <a:custGeom>
          <a:avLst/>
          <a:gdLst/>
          <a:ahLst/>
          <a:cxnLst/>
          <a:rect l="0" t="0" r="0" b="0"/>
          <a:pathLst>
            <a:path>
              <a:moveTo>
                <a:pt x="0" y="1376068"/>
              </a:moveTo>
              <a:lnTo>
                <a:pt x="106672" y="1376068"/>
              </a:lnTo>
              <a:lnTo>
                <a:pt x="106672" y="0"/>
              </a:lnTo>
              <a:lnTo>
                <a:pt x="213344"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B48850-F88E-4446-A5F1-E491055A7AED}">
      <dsp:nvSpPr>
        <dsp:cNvPr id="0" name=""/>
        <dsp:cNvSpPr/>
      </dsp:nvSpPr>
      <dsp:spPr>
        <a:xfrm>
          <a:off x="1199525" y="163435"/>
          <a:ext cx="213344" cy="1834758"/>
        </a:xfrm>
        <a:custGeom>
          <a:avLst/>
          <a:gdLst/>
          <a:ahLst/>
          <a:cxnLst/>
          <a:rect l="0" t="0" r="0" b="0"/>
          <a:pathLst>
            <a:path>
              <a:moveTo>
                <a:pt x="0" y="1834758"/>
              </a:moveTo>
              <a:lnTo>
                <a:pt x="106672" y="1834758"/>
              </a:lnTo>
              <a:lnTo>
                <a:pt x="106672" y="0"/>
              </a:lnTo>
              <a:lnTo>
                <a:pt x="213344"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F435B8-AC54-A04A-8555-5BB0F3161BCB}">
      <dsp:nvSpPr>
        <dsp:cNvPr id="0" name=""/>
        <dsp:cNvSpPr/>
      </dsp:nvSpPr>
      <dsp:spPr>
        <a:xfrm>
          <a:off x="132805" y="1835519"/>
          <a:ext cx="1066720" cy="32534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Pattern Form*</a:t>
          </a:r>
        </a:p>
      </dsp:txBody>
      <dsp:txXfrm>
        <a:off x="132805" y="1835519"/>
        <a:ext cx="1066720" cy="325349"/>
      </dsp:txXfrm>
    </dsp:sp>
    <dsp:sp modelId="{693F533D-A577-C443-9BDD-EC20C54CF7CF}">
      <dsp:nvSpPr>
        <dsp:cNvPr id="0" name=""/>
        <dsp:cNvSpPr/>
      </dsp:nvSpPr>
      <dsp:spPr>
        <a:xfrm>
          <a:off x="1412869" y="760"/>
          <a:ext cx="1066720" cy="3253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Pattern Name</a:t>
          </a:r>
        </a:p>
      </dsp:txBody>
      <dsp:txXfrm>
        <a:off x="1412869" y="760"/>
        <a:ext cx="1066720" cy="325349"/>
      </dsp:txXfrm>
    </dsp:sp>
    <dsp:sp modelId="{04F0C9FB-1872-FD45-919D-CD509CC7ACD2}">
      <dsp:nvSpPr>
        <dsp:cNvPr id="0" name=""/>
        <dsp:cNvSpPr/>
      </dsp:nvSpPr>
      <dsp:spPr>
        <a:xfrm>
          <a:off x="1412869" y="459450"/>
          <a:ext cx="1066720" cy="3253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Summary</a:t>
          </a:r>
        </a:p>
      </dsp:txBody>
      <dsp:txXfrm>
        <a:off x="1412869" y="459450"/>
        <a:ext cx="1066720" cy="325349"/>
      </dsp:txXfrm>
    </dsp:sp>
    <dsp:sp modelId="{6D78F15A-B86A-5D47-9B8E-74E5AABA5DEE}">
      <dsp:nvSpPr>
        <dsp:cNvPr id="0" name=""/>
        <dsp:cNvSpPr/>
      </dsp:nvSpPr>
      <dsp:spPr>
        <a:xfrm>
          <a:off x="1412869" y="918139"/>
          <a:ext cx="1066720" cy="3253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Context</a:t>
          </a:r>
        </a:p>
      </dsp:txBody>
      <dsp:txXfrm>
        <a:off x="1412869" y="918139"/>
        <a:ext cx="1066720" cy="325349"/>
      </dsp:txXfrm>
    </dsp:sp>
    <dsp:sp modelId="{52359433-2B0C-624E-8316-58A884DF6397}">
      <dsp:nvSpPr>
        <dsp:cNvPr id="0" name=""/>
        <dsp:cNvSpPr/>
      </dsp:nvSpPr>
      <dsp:spPr>
        <a:xfrm>
          <a:off x="1412869" y="1376829"/>
          <a:ext cx="1066720" cy="3253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Problem Statement</a:t>
          </a:r>
        </a:p>
      </dsp:txBody>
      <dsp:txXfrm>
        <a:off x="1412869" y="1376829"/>
        <a:ext cx="1066720" cy="325349"/>
      </dsp:txXfrm>
    </dsp:sp>
    <dsp:sp modelId="{F0A59A47-9F2A-4346-96DA-3115F6E50019}">
      <dsp:nvSpPr>
        <dsp:cNvPr id="0" name=""/>
        <dsp:cNvSpPr/>
      </dsp:nvSpPr>
      <dsp:spPr>
        <a:xfrm>
          <a:off x="1412869" y="1835519"/>
          <a:ext cx="1066720" cy="3253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Force</a:t>
          </a:r>
        </a:p>
      </dsp:txBody>
      <dsp:txXfrm>
        <a:off x="1412869" y="1835519"/>
        <a:ext cx="1066720" cy="325349"/>
      </dsp:txXfrm>
    </dsp:sp>
    <dsp:sp modelId="{B588A0C4-2648-064E-919C-A29258937C9D}">
      <dsp:nvSpPr>
        <dsp:cNvPr id="0" name=""/>
        <dsp:cNvSpPr/>
      </dsp:nvSpPr>
      <dsp:spPr>
        <a:xfrm>
          <a:off x="1412869" y="2294208"/>
          <a:ext cx="1066720" cy="3253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Solution</a:t>
          </a:r>
        </a:p>
      </dsp:txBody>
      <dsp:txXfrm>
        <a:off x="1412869" y="2294208"/>
        <a:ext cx="1066720" cy="325349"/>
      </dsp:txXfrm>
    </dsp:sp>
    <dsp:sp modelId="{79CA8CBE-EF24-5548-9ED9-11684E28E9E9}">
      <dsp:nvSpPr>
        <dsp:cNvPr id="0" name=""/>
        <dsp:cNvSpPr/>
      </dsp:nvSpPr>
      <dsp:spPr>
        <a:xfrm>
          <a:off x="1412869" y="2752898"/>
          <a:ext cx="1066720" cy="3253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Consequences</a:t>
          </a:r>
        </a:p>
      </dsp:txBody>
      <dsp:txXfrm>
        <a:off x="1412869" y="2752898"/>
        <a:ext cx="1066720" cy="325349"/>
      </dsp:txXfrm>
    </dsp:sp>
    <dsp:sp modelId="{F0490598-B026-E649-861F-438716F1D831}">
      <dsp:nvSpPr>
        <dsp:cNvPr id="0" name=""/>
        <dsp:cNvSpPr/>
      </dsp:nvSpPr>
      <dsp:spPr>
        <a:xfrm>
          <a:off x="2692933" y="2523553"/>
          <a:ext cx="1066720" cy="325349"/>
        </a:xfrm>
        <a:prstGeom prst="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Benefits</a:t>
          </a:r>
        </a:p>
      </dsp:txBody>
      <dsp:txXfrm>
        <a:off x="2692933" y="2523553"/>
        <a:ext cx="1066720" cy="325349"/>
      </dsp:txXfrm>
    </dsp:sp>
    <dsp:sp modelId="{B13F2836-7C6D-BE43-9201-7E32A5B1A68B}">
      <dsp:nvSpPr>
        <dsp:cNvPr id="0" name=""/>
        <dsp:cNvSpPr/>
      </dsp:nvSpPr>
      <dsp:spPr>
        <a:xfrm>
          <a:off x="2692933" y="2982243"/>
          <a:ext cx="1066720" cy="325349"/>
        </a:xfrm>
        <a:prstGeom prst="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Drawbacks</a:t>
          </a:r>
        </a:p>
      </dsp:txBody>
      <dsp:txXfrm>
        <a:off x="2692933" y="2982243"/>
        <a:ext cx="1066720" cy="325349"/>
      </dsp:txXfrm>
    </dsp:sp>
    <dsp:sp modelId="{79ED6464-2B13-C24F-836C-30FBBA91E97E}">
      <dsp:nvSpPr>
        <dsp:cNvPr id="0" name=""/>
        <dsp:cNvSpPr/>
      </dsp:nvSpPr>
      <dsp:spPr>
        <a:xfrm>
          <a:off x="1412869" y="3211588"/>
          <a:ext cx="1066720" cy="3253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Related patterns</a:t>
          </a:r>
        </a:p>
      </dsp:txBody>
      <dsp:txXfrm>
        <a:off x="1412869" y="3211588"/>
        <a:ext cx="1066720" cy="325349"/>
      </dsp:txXfrm>
    </dsp:sp>
    <dsp:sp modelId="{70977390-730E-F949-940A-2D0B59380857}">
      <dsp:nvSpPr>
        <dsp:cNvPr id="0" name=""/>
        <dsp:cNvSpPr/>
      </dsp:nvSpPr>
      <dsp:spPr>
        <a:xfrm>
          <a:off x="1412869" y="3670277"/>
          <a:ext cx="1066720" cy="3253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Known uses</a:t>
          </a:r>
        </a:p>
      </dsp:txBody>
      <dsp:txXfrm>
        <a:off x="1412869" y="3670277"/>
        <a:ext cx="1066720" cy="32534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8ABC0C-6D7F-824A-921B-618D8A3A8EB1}">
      <dsp:nvSpPr>
        <dsp:cNvPr id="0" name=""/>
        <dsp:cNvSpPr/>
      </dsp:nvSpPr>
      <dsp:spPr>
        <a:xfrm>
          <a:off x="1156929" y="1728"/>
          <a:ext cx="1028496" cy="514248"/>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Interaction with External World</a:t>
          </a:r>
        </a:p>
      </dsp:txBody>
      <dsp:txXfrm>
        <a:off x="1171991" y="16790"/>
        <a:ext cx="998372" cy="484124"/>
      </dsp:txXfrm>
    </dsp:sp>
    <dsp:sp modelId="{3F514349-0FED-5C41-B786-EE797FD6A6ED}">
      <dsp:nvSpPr>
        <dsp:cNvPr id="0" name=""/>
        <dsp:cNvSpPr/>
      </dsp:nvSpPr>
      <dsp:spPr>
        <a:xfrm>
          <a:off x="1259779" y="515976"/>
          <a:ext cx="102849" cy="385686"/>
        </a:xfrm>
        <a:custGeom>
          <a:avLst/>
          <a:gdLst/>
          <a:ahLst/>
          <a:cxnLst/>
          <a:rect l="0" t="0" r="0" b="0"/>
          <a:pathLst>
            <a:path>
              <a:moveTo>
                <a:pt x="0" y="0"/>
              </a:moveTo>
              <a:lnTo>
                <a:pt x="0" y="385686"/>
              </a:lnTo>
              <a:lnTo>
                <a:pt x="102849" y="38568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D6F72C5-DE37-E941-AD44-5970467C2A96}">
      <dsp:nvSpPr>
        <dsp:cNvPr id="0" name=""/>
        <dsp:cNvSpPr/>
      </dsp:nvSpPr>
      <dsp:spPr>
        <a:xfrm>
          <a:off x="1362629" y="644538"/>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Centralized Oracle</a:t>
          </a:r>
        </a:p>
      </dsp:txBody>
      <dsp:txXfrm>
        <a:off x="1377691" y="659600"/>
        <a:ext cx="792673" cy="484124"/>
      </dsp:txXfrm>
    </dsp:sp>
    <dsp:sp modelId="{D5ADA3D3-42F7-7E46-8A26-E9B8F121314A}">
      <dsp:nvSpPr>
        <dsp:cNvPr id="0" name=""/>
        <dsp:cNvSpPr/>
      </dsp:nvSpPr>
      <dsp:spPr>
        <a:xfrm>
          <a:off x="1259779" y="515976"/>
          <a:ext cx="102849" cy="1028496"/>
        </a:xfrm>
        <a:custGeom>
          <a:avLst/>
          <a:gdLst/>
          <a:ahLst/>
          <a:cxnLst/>
          <a:rect l="0" t="0" r="0" b="0"/>
          <a:pathLst>
            <a:path>
              <a:moveTo>
                <a:pt x="0" y="0"/>
              </a:moveTo>
              <a:lnTo>
                <a:pt x="0" y="1028496"/>
              </a:lnTo>
              <a:lnTo>
                <a:pt x="102849" y="10284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829D355-4F9B-754E-8384-23AF734D3DC1}">
      <dsp:nvSpPr>
        <dsp:cNvPr id="0" name=""/>
        <dsp:cNvSpPr/>
      </dsp:nvSpPr>
      <dsp:spPr>
        <a:xfrm>
          <a:off x="1362629" y="1287349"/>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Decentralized Oracle</a:t>
          </a:r>
        </a:p>
      </dsp:txBody>
      <dsp:txXfrm>
        <a:off x="1377691" y="1302411"/>
        <a:ext cx="792673" cy="484124"/>
      </dsp:txXfrm>
    </dsp:sp>
    <dsp:sp modelId="{0D5AF32C-FEAC-B940-AEF9-113FD4C540C5}">
      <dsp:nvSpPr>
        <dsp:cNvPr id="0" name=""/>
        <dsp:cNvSpPr/>
      </dsp:nvSpPr>
      <dsp:spPr>
        <a:xfrm>
          <a:off x="1259779" y="515976"/>
          <a:ext cx="102849" cy="1671307"/>
        </a:xfrm>
        <a:custGeom>
          <a:avLst/>
          <a:gdLst/>
          <a:ahLst/>
          <a:cxnLst/>
          <a:rect l="0" t="0" r="0" b="0"/>
          <a:pathLst>
            <a:path>
              <a:moveTo>
                <a:pt x="0" y="0"/>
              </a:moveTo>
              <a:lnTo>
                <a:pt x="0" y="1671307"/>
              </a:lnTo>
              <a:lnTo>
                <a:pt x="102849" y="1671307"/>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10A9C0B-B81D-0947-8B02-F4620CE15477}">
      <dsp:nvSpPr>
        <dsp:cNvPr id="0" name=""/>
        <dsp:cNvSpPr/>
      </dsp:nvSpPr>
      <dsp:spPr>
        <a:xfrm>
          <a:off x="1362629" y="1930160"/>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Voting</a:t>
          </a:r>
        </a:p>
      </dsp:txBody>
      <dsp:txXfrm>
        <a:off x="1377691" y="1945222"/>
        <a:ext cx="792673" cy="484124"/>
      </dsp:txXfrm>
    </dsp:sp>
    <dsp:sp modelId="{59399A21-1752-9641-909F-1DF60D99EC93}">
      <dsp:nvSpPr>
        <dsp:cNvPr id="0" name=""/>
        <dsp:cNvSpPr/>
      </dsp:nvSpPr>
      <dsp:spPr>
        <a:xfrm>
          <a:off x="1259779" y="515976"/>
          <a:ext cx="102849" cy="2314118"/>
        </a:xfrm>
        <a:custGeom>
          <a:avLst/>
          <a:gdLst/>
          <a:ahLst/>
          <a:cxnLst/>
          <a:rect l="0" t="0" r="0" b="0"/>
          <a:pathLst>
            <a:path>
              <a:moveTo>
                <a:pt x="0" y="0"/>
              </a:moveTo>
              <a:lnTo>
                <a:pt x="0" y="2314118"/>
              </a:lnTo>
              <a:lnTo>
                <a:pt x="102849" y="2314118"/>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69F2B92-7101-9A4A-83D1-C2CF5AF28505}">
      <dsp:nvSpPr>
        <dsp:cNvPr id="0" name=""/>
        <dsp:cNvSpPr/>
      </dsp:nvSpPr>
      <dsp:spPr>
        <a:xfrm>
          <a:off x="1362629" y="2572970"/>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Legal and Smart Contract Pair</a:t>
          </a:r>
        </a:p>
      </dsp:txBody>
      <dsp:txXfrm>
        <a:off x="1377691" y="2588032"/>
        <a:ext cx="792673" cy="484124"/>
      </dsp:txXfrm>
    </dsp:sp>
    <dsp:sp modelId="{C1B131E3-501B-D54B-87C3-86BF06BB35E8}">
      <dsp:nvSpPr>
        <dsp:cNvPr id="0" name=""/>
        <dsp:cNvSpPr/>
      </dsp:nvSpPr>
      <dsp:spPr>
        <a:xfrm>
          <a:off x="1259779" y="515976"/>
          <a:ext cx="102849" cy="2956928"/>
        </a:xfrm>
        <a:custGeom>
          <a:avLst/>
          <a:gdLst/>
          <a:ahLst/>
          <a:cxnLst/>
          <a:rect l="0" t="0" r="0" b="0"/>
          <a:pathLst>
            <a:path>
              <a:moveTo>
                <a:pt x="0" y="0"/>
              </a:moveTo>
              <a:lnTo>
                <a:pt x="0" y="2956928"/>
              </a:lnTo>
              <a:lnTo>
                <a:pt x="102849" y="2956928"/>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A6CB5A3-1BA1-7E4B-8C56-627C34B6ECD3}">
      <dsp:nvSpPr>
        <dsp:cNvPr id="0" name=""/>
        <dsp:cNvSpPr/>
      </dsp:nvSpPr>
      <dsp:spPr>
        <a:xfrm>
          <a:off x="1362629" y="3215781"/>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Reverse Oracle</a:t>
          </a:r>
        </a:p>
      </dsp:txBody>
      <dsp:txXfrm>
        <a:off x="1377691" y="3230843"/>
        <a:ext cx="792673" cy="484124"/>
      </dsp:txXfrm>
    </dsp:sp>
    <dsp:sp modelId="{587C74AE-3394-DC49-8CB1-76A0BCD058A4}">
      <dsp:nvSpPr>
        <dsp:cNvPr id="0" name=""/>
        <dsp:cNvSpPr/>
      </dsp:nvSpPr>
      <dsp:spPr>
        <a:xfrm>
          <a:off x="2442550" y="1728"/>
          <a:ext cx="1028496" cy="514248"/>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ata Management</a:t>
          </a:r>
        </a:p>
      </dsp:txBody>
      <dsp:txXfrm>
        <a:off x="2457612" y="16790"/>
        <a:ext cx="998372" cy="484124"/>
      </dsp:txXfrm>
    </dsp:sp>
    <dsp:sp modelId="{BA439008-8DC7-6F4F-BB51-CC1D048D6E8D}">
      <dsp:nvSpPr>
        <dsp:cNvPr id="0" name=""/>
        <dsp:cNvSpPr/>
      </dsp:nvSpPr>
      <dsp:spPr>
        <a:xfrm>
          <a:off x="2545400" y="515976"/>
          <a:ext cx="102849" cy="385686"/>
        </a:xfrm>
        <a:custGeom>
          <a:avLst/>
          <a:gdLst/>
          <a:ahLst/>
          <a:cxnLst/>
          <a:rect l="0" t="0" r="0" b="0"/>
          <a:pathLst>
            <a:path>
              <a:moveTo>
                <a:pt x="0" y="0"/>
              </a:moveTo>
              <a:lnTo>
                <a:pt x="0" y="385686"/>
              </a:lnTo>
              <a:lnTo>
                <a:pt x="102849" y="38568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C7CC600-EAD4-7449-B71C-71141DC3A933}">
      <dsp:nvSpPr>
        <dsp:cNvPr id="0" name=""/>
        <dsp:cNvSpPr/>
      </dsp:nvSpPr>
      <dsp:spPr>
        <a:xfrm>
          <a:off x="2648250" y="644538"/>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Off-chain Data Storage</a:t>
          </a:r>
        </a:p>
      </dsp:txBody>
      <dsp:txXfrm>
        <a:off x="2663312" y="659600"/>
        <a:ext cx="792673" cy="484124"/>
      </dsp:txXfrm>
    </dsp:sp>
    <dsp:sp modelId="{E10A6EA2-0E21-A04F-8004-BFC9A0538066}">
      <dsp:nvSpPr>
        <dsp:cNvPr id="0" name=""/>
        <dsp:cNvSpPr/>
      </dsp:nvSpPr>
      <dsp:spPr>
        <a:xfrm>
          <a:off x="2545400" y="515976"/>
          <a:ext cx="102849" cy="1028496"/>
        </a:xfrm>
        <a:custGeom>
          <a:avLst/>
          <a:gdLst/>
          <a:ahLst/>
          <a:cxnLst/>
          <a:rect l="0" t="0" r="0" b="0"/>
          <a:pathLst>
            <a:path>
              <a:moveTo>
                <a:pt x="0" y="0"/>
              </a:moveTo>
              <a:lnTo>
                <a:pt x="0" y="1028496"/>
              </a:lnTo>
              <a:lnTo>
                <a:pt x="102849" y="10284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802B708-C3AC-C64A-B8CF-25D102BF4DB4}">
      <dsp:nvSpPr>
        <dsp:cNvPr id="0" name=""/>
        <dsp:cNvSpPr/>
      </dsp:nvSpPr>
      <dsp:spPr>
        <a:xfrm>
          <a:off x="2648250" y="1287349"/>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State Channel</a:t>
          </a:r>
        </a:p>
      </dsp:txBody>
      <dsp:txXfrm>
        <a:off x="2663312" y="1302411"/>
        <a:ext cx="792673" cy="484124"/>
      </dsp:txXfrm>
    </dsp:sp>
    <dsp:sp modelId="{BF408421-FF0A-F54E-B93E-57AA7AC549C4}">
      <dsp:nvSpPr>
        <dsp:cNvPr id="0" name=""/>
        <dsp:cNvSpPr/>
      </dsp:nvSpPr>
      <dsp:spPr>
        <a:xfrm>
          <a:off x="2545400" y="515976"/>
          <a:ext cx="102849" cy="1671307"/>
        </a:xfrm>
        <a:custGeom>
          <a:avLst/>
          <a:gdLst/>
          <a:ahLst/>
          <a:cxnLst/>
          <a:rect l="0" t="0" r="0" b="0"/>
          <a:pathLst>
            <a:path>
              <a:moveTo>
                <a:pt x="0" y="0"/>
              </a:moveTo>
              <a:lnTo>
                <a:pt x="0" y="1671307"/>
              </a:lnTo>
              <a:lnTo>
                <a:pt x="102849" y="1671307"/>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F6014B9-FF15-0546-AA04-F591028B596A}">
      <dsp:nvSpPr>
        <dsp:cNvPr id="0" name=""/>
        <dsp:cNvSpPr/>
      </dsp:nvSpPr>
      <dsp:spPr>
        <a:xfrm>
          <a:off x="2648250" y="1930160"/>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Encrypting On-chain Data</a:t>
          </a:r>
        </a:p>
      </dsp:txBody>
      <dsp:txXfrm>
        <a:off x="2663312" y="1945222"/>
        <a:ext cx="792673" cy="484124"/>
      </dsp:txXfrm>
    </dsp:sp>
    <dsp:sp modelId="{BEB443A0-BDD9-EC4C-9347-4016B3AFF79C}">
      <dsp:nvSpPr>
        <dsp:cNvPr id="0" name=""/>
        <dsp:cNvSpPr/>
      </dsp:nvSpPr>
      <dsp:spPr>
        <a:xfrm>
          <a:off x="2545400" y="515976"/>
          <a:ext cx="102849" cy="2314118"/>
        </a:xfrm>
        <a:custGeom>
          <a:avLst/>
          <a:gdLst/>
          <a:ahLst/>
          <a:cxnLst/>
          <a:rect l="0" t="0" r="0" b="0"/>
          <a:pathLst>
            <a:path>
              <a:moveTo>
                <a:pt x="0" y="0"/>
              </a:moveTo>
              <a:lnTo>
                <a:pt x="0" y="2314118"/>
              </a:lnTo>
              <a:lnTo>
                <a:pt x="102849" y="2314118"/>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EF1671F-3DF5-494B-AE25-2434EBDA1A68}">
      <dsp:nvSpPr>
        <dsp:cNvPr id="0" name=""/>
        <dsp:cNvSpPr/>
      </dsp:nvSpPr>
      <dsp:spPr>
        <a:xfrm>
          <a:off x="2648250" y="2572970"/>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err="1"/>
            <a:t>Tokenisation</a:t>
          </a:r>
          <a:endParaRPr lang="en-US" sz="1000" b="1" kern="1200" dirty="0"/>
        </a:p>
      </dsp:txBody>
      <dsp:txXfrm>
        <a:off x="2663312" y="2588032"/>
        <a:ext cx="792673" cy="484124"/>
      </dsp:txXfrm>
    </dsp:sp>
    <dsp:sp modelId="{7634BA55-D044-B248-8F77-5614E76D7120}">
      <dsp:nvSpPr>
        <dsp:cNvPr id="0" name=""/>
        <dsp:cNvSpPr/>
      </dsp:nvSpPr>
      <dsp:spPr>
        <a:xfrm>
          <a:off x="3728172" y="1728"/>
          <a:ext cx="1028496" cy="514248"/>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Security</a:t>
          </a:r>
        </a:p>
      </dsp:txBody>
      <dsp:txXfrm>
        <a:off x="3743234" y="16790"/>
        <a:ext cx="998372" cy="484124"/>
      </dsp:txXfrm>
    </dsp:sp>
    <dsp:sp modelId="{1AE04E00-72C6-3B42-81CF-52ED553CDC38}">
      <dsp:nvSpPr>
        <dsp:cNvPr id="0" name=""/>
        <dsp:cNvSpPr/>
      </dsp:nvSpPr>
      <dsp:spPr>
        <a:xfrm>
          <a:off x="3831021" y="515976"/>
          <a:ext cx="102849" cy="385686"/>
        </a:xfrm>
        <a:custGeom>
          <a:avLst/>
          <a:gdLst/>
          <a:ahLst/>
          <a:cxnLst/>
          <a:rect l="0" t="0" r="0" b="0"/>
          <a:pathLst>
            <a:path>
              <a:moveTo>
                <a:pt x="0" y="0"/>
              </a:moveTo>
              <a:lnTo>
                <a:pt x="0" y="385686"/>
              </a:lnTo>
              <a:lnTo>
                <a:pt x="102849" y="38568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57FEADB-5D8F-E343-88F9-3F0C634B3357}">
      <dsp:nvSpPr>
        <dsp:cNvPr id="0" name=""/>
        <dsp:cNvSpPr/>
      </dsp:nvSpPr>
      <dsp:spPr>
        <a:xfrm>
          <a:off x="3933871" y="644538"/>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Dynamic Authorization</a:t>
          </a:r>
        </a:p>
      </dsp:txBody>
      <dsp:txXfrm>
        <a:off x="3948933" y="659600"/>
        <a:ext cx="792673" cy="484124"/>
      </dsp:txXfrm>
    </dsp:sp>
    <dsp:sp modelId="{616DEDF7-72CD-4B41-826B-4210486F480B}">
      <dsp:nvSpPr>
        <dsp:cNvPr id="0" name=""/>
        <dsp:cNvSpPr/>
      </dsp:nvSpPr>
      <dsp:spPr>
        <a:xfrm>
          <a:off x="3831021" y="515976"/>
          <a:ext cx="102849" cy="1028496"/>
        </a:xfrm>
        <a:custGeom>
          <a:avLst/>
          <a:gdLst/>
          <a:ahLst/>
          <a:cxnLst/>
          <a:rect l="0" t="0" r="0" b="0"/>
          <a:pathLst>
            <a:path>
              <a:moveTo>
                <a:pt x="0" y="0"/>
              </a:moveTo>
              <a:lnTo>
                <a:pt x="0" y="1028496"/>
              </a:lnTo>
              <a:lnTo>
                <a:pt x="102849" y="10284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E2BE487-796D-8A42-81EB-73B1FF7FA130}">
      <dsp:nvSpPr>
        <dsp:cNvPr id="0" name=""/>
        <dsp:cNvSpPr/>
      </dsp:nvSpPr>
      <dsp:spPr>
        <a:xfrm>
          <a:off x="3933871" y="1287349"/>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Multiple Authorization</a:t>
          </a:r>
        </a:p>
      </dsp:txBody>
      <dsp:txXfrm>
        <a:off x="3948933" y="1302411"/>
        <a:ext cx="792673" cy="484124"/>
      </dsp:txXfrm>
    </dsp:sp>
    <dsp:sp modelId="{161E2220-9CCC-FC4A-8FB2-63C6E682F6DF}">
      <dsp:nvSpPr>
        <dsp:cNvPr id="0" name=""/>
        <dsp:cNvSpPr/>
      </dsp:nvSpPr>
      <dsp:spPr>
        <a:xfrm>
          <a:off x="3831021" y="515976"/>
          <a:ext cx="102849" cy="1671307"/>
        </a:xfrm>
        <a:custGeom>
          <a:avLst/>
          <a:gdLst/>
          <a:ahLst/>
          <a:cxnLst/>
          <a:rect l="0" t="0" r="0" b="0"/>
          <a:pathLst>
            <a:path>
              <a:moveTo>
                <a:pt x="0" y="0"/>
              </a:moveTo>
              <a:lnTo>
                <a:pt x="0" y="1671307"/>
              </a:lnTo>
              <a:lnTo>
                <a:pt x="102849" y="1671307"/>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E24FB6B-4ED1-9B47-AF93-F82344D22B18}">
      <dsp:nvSpPr>
        <dsp:cNvPr id="0" name=""/>
        <dsp:cNvSpPr/>
      </dsp:nvSpPr>
      <dsp:spPr>
        <a:xfrm>
          <a:off x="3933871" y="1930160"/>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X-confirmation</a:t>
          </a:r>
        </a:p>
      </dsp:txBody>
      <dsp:txXfrm>
        <a:off x="3948933" y="1945222"/>
        <a:ext cx="792673" cy="484124"/>
      </dsp:txXfrm>
    </dsp:sp>
    <dsp:sp modelId="{62372CAD-8CEA-5249-B725-06E12ECDABED}">
      <dsp:nvSpPr>
        <dsp:cNvPr id="0" name=""/>
        <dsp:cNvSpPr/>
      </dsp:nvSpPr>
      <dsp:spPr>
        <a:xfrm>
          <a:off x="3831021" y="515976"/>
          <a:ext cx="102849" cy="2314118"/>
        </a:xfrm>
        <a:custGeom>
          <a:avLst/>
          <a:gdLst/>
          <a:ahLst/>
          <a:cxnLst/>
          <a:rect l="0" t="0" r="0" b="0"/>
          <a:pathLst>
            <a:path>
              <a:moveTo>
                <a:pt x="0" y="0"/>
              </a:moveTo>
              <a:lnTo>
                <a:pt x="0" y="2314118"/>
              </a:lnTo>
              <a:lnTo>
                <a:pt x="102849" y="2314118"/>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14971FA-8479-2647-910A-061B76333F31}">
      <dsp:nvSpPr>
        <dsp:cNvPr id="0" name=""/>
        <dsp:cNvSpPr/>
      </dsp:nvSpPr>
      <dsp:spPr>
        <a:xfrm>
          <a:off x="3933871" y="2572970"/>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Security Deposit</a:t>
          </a:r>
        </a:p>
      </dsp:txBody>
      <dsp:txXfrm>
        <a:off x="3948933" y="2588032"/>
        <a:ext cx="792673" cy="484124"/>
      </dsp:txXfrm>
    </dsp:sp>
    <dsp:sp modelId="{2FA8F23F-35CD-C54A-8783-629A03772AEC}">
      <dsp:nvSpPr>
        <dsp:cNvPr id="0" name=""/>
        <dsp:cNvSpPr/>
      </dsp:nvSpPr>
      <dsp:spPr>
        <a:xfrm>
          <a:off x="5013793" y="1728"/>
          <a:ext cx="1028496" cy="514248"/>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Contract Structural Patterns</a:t>
          </a:r>
        </a:p>
      </dsp:txBody>
      <dsp:txXfrm>
        <a:off x="5028855" y="16790"/>
        <a:ext cx="998372" cy="484124"/>
      </dsp:txXfrm>
    </dsp:sp>
    <dsp:sp modelId="{9E84B493-25F5-DF4D-8ECA-FEBA7BDB38A6}">
      <dsp:nvSpPr>
        <dsp:cNvPr id="0" name=""/>
        <dsp:cNvSpPr/>
      </dsp:nvSpPr>
      <dsp:spPr>
        <a:xfrm>
          <a:off x="5116642" y="515976"/>
          <a:ext cx="102849" cy="385686"/>
        </a:xfrm>
        <a:custGeom>
          <a:avLst/>
          <a:gdLst/>
          <a:ahLst/>
          <a:cxnLst/>
          <a:rect l="0" t="0" r="0" b="0"/>
          <a:pathLst>
            <a:path>
              <a:moveTo>
                <a:pt x="0" y="0"/>
              </a:moveTo>
              <a:lnTo>
                <a:pt x="0" y="385686"/>
              </a:lnTo>
              <a:lnTo>
                <a:pt x="102849" y="38568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383FD56-CDCD-2945-B041-9B16034E0889}">
      <dsp:nvSpPr>
        <dsp:cNvPr id="0" name=""/>
        <dsp:cNvSpPr/>
      </dsp:nvSpPr>
      <dsp:spPr>
        <a:xfrm>
          <a:off x="5219492" y="644538"/>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Contract Registry</a:t>
          </a:r>
        </a:p>
      </dsp:txBody>
      <dsp:txXfrm>
        <a:off x="5234554" y="659600"/>
        <a:ext cx="792673" cy="484124"/>
      </dsp:txXfrm>
    </dsp:sp>
    <dsp:sp modelId="{3FB2E1DB-7F77-A940-A44D-A2EBF02F6AA8}">
      <dsp:nvSpPr>
        <dsp:cNvPr id="0" name=""/>
        <dsp:cNvSpPr/>
      </dsp:nvSpPr>
      <dsp:spPr>
        <a:xfrm>
          <a:off x="5116642" y="515976"/>
          <a:ext cx="102849" cy="1028496"/>
        </a:xfrm>
        <a:custGeom>
          <a:avLst/>
          <a:gdLst/>
          <a:ahLst/>
          <a:cxnLst/>
          <a:rect l="0" t="0" r="0" b="0"/>
          <a:pathLst>
            <a:path>
              <a:moveTo>
                <a:pt x="0" y="0"/>
              </a:moveTo>
              <a:lnTo>
                <a:pt x="0" y="1028496"/>
              </a:lnTo>
              <a:lnTo>
                <a:pt x="102849" y="10284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4AF0035-BFE5-2044-A7EB-39D21B6B4C23}">
      <dsp:nvSpPr>
        <dsp:cNvPr id="0" name=""/>
        <dsp:cNvSpPr/>
      </dsp:nvSpPr>
      <dsp:spPr>
        <a:xfrm>
          <a:off x="5219492" y="1287349"/>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Embedded Permission</a:t>
          </a:r>
        </a:p>
      </dsp:txBody>
      <dsp:txXfrm>
        <a:off x="5234554" y="1302411"/>
        <a:ext cx="792673" cy="484124"/>
      </dsp:txXfrm>
    </dsp:sp>
    <dsp:sp modelId="{6544270F-F7B6-E049-B33D-1DD08D2C8DA4}">
      <dsp:nvSpPr>
        <dsp:cNvPr id="0" name=""/>
        <dsp:cNvSpPr/>
      </dsp:nvSpPr>
      <dsp:spPr>
        <a:xfrm>
          <a:off x="5116642" y="515976"/>
          <a:ext cx="102849" cy="1671307"/>
        </a:xfrm>
        <a:custGeom>
          <a:avLst/>
          <a:gdLst/>
          <a:ahLst/>
          <a:cxnLst/>
          <a:rect l="0" t="0" r="0" b="0"/>
          <a:pathLst>
            <a:path>
              <a:moveTo>
                <a:pt x="0" y="0"/>
              </a:moveTo>
              <a:lnTo>
                <a:pt x="0" y="1671307"/>
              </a:lnTo>
              <a:lnTo>
                <a:pt x="102849" y="1671307"/>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D3B654E-F569-E741-95FD-BAEB3D862512}">
      <dsp:nvSpPr>
        <dsp:cNvPr id="0" name=""/>
        <dsp:cNvSpPr/>
      </dsp:nvSpPr>
      <dsp:spPr>
        <a:xfrm>
          <a:off x="5219492" y="1930160"/>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Data Contract</a:t>
          </a:r>
        </a:p>
      </dsp:txBody>
      <dsp:txXfrm>
        <a:off x="5234554" y="1945222"/>
        <a:ext cx="792673" cy="484124"/>
      </dsp:txXfrm>
    </dsp:sp>
    <dsp:sp modelId="{A766C9EF-D2E9-D042-A8CB-171425FDB28D}">
      <dsp:nvSpPr>
        <dsp:cNvPr id="0" name=""/>
        <dsp:cNvSpPr/>
      </dsp:nvSpPr>
      <dsp:spPr>
        <a:xfrm>
          <a:off x="5116642" y="515976"/>
          <a:ext cx="102849" cy="2314118"/>
        </a:xfrm>
        <a:custGeom>
          <a:avLst/>
          <a:gdLst/>
          <a:ahLst/>
          <a:cxnLst/>
          <a:rect l="0" t="0" r="0" b="0"/>
          <a:pathLst>
            <a:path>
              <a:moveTo>
                <a:pt x="0" y="0"/>
              </a:moveTo>
              <a:lnTo>
                <a:pt x="0" y="2314118"/>
              </a:lnTo>
              <a:lnTo>
                <a:pt x="102849" y="2314118"/>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6601567-ED76-D74F-A58C-75189A8C23BF}">
      <dsp:nvSpPr>
        <dsp:cNvPr id="0" name=""/>
        <dsp:cNvSpPr/>
      </dsp:nvSpPr>
      <dsp:spPr>
        <a:xfrm>
          <a:off x="5219492" y="2572970"/>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Factory Contract</a:t>
          </a:r>
        </a:p>
      </dsp:txBody>
      <dsp:txXfrm>
        <a:off x="5234554" y="2588032"/>
        <a:ext cx="792673" cy="484124"/>
      </dsp:txXfrm>
    </dsp:sp>
    <dsp:sp modelId="{4775D44D-645E-E249-ADDE-D82E8C608398}">
      <dsp:nvSpPr>
        <dsp:cNvPr id="0" name=""/>
        <dsp:cNvSpPr/>
      </dsp:nvSpPr>
      <dsp:spPr>
        <a:xfrm>
          <a:off x="5116642" y="515976"/>
          <a:ext cx="102849" cy="2956928"/>
        </a:xfrm>
        <a:custGeom>
          <a:avLst/>
          <a:gdLst/>
          <a:ahLst/>
          <a:cxnLst/>
          <a:rect l="0" t="0" r="0" b="0"/>
          <a:pathLst>
            <a:path>
              <a:moveTo>
                <a:pt x="0" y="0"/>
              </a:moveTo>
              <a:lnTo>
                <a:pt x="0" y="2956928"/>
              </a:lnTo>
              <a:lnTo>
                <a:pt x="102849" y="2956928"/>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51EB7AD-8953-834A-8746-11F852A289E6}">
      <dsp:nvSpPr>
        <dsp:cNvPr id="0" name=""/>
        <dsp:cNvSpPr/>
      </dsp:nvSpPr>
      <dsp:spPr>
        <a:xfrm>
          <a:off x="5219492" y="3215781"/>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Incentive Execution</a:t>
          </a:r>
        </a:p>
      </dsp:txBody>
      <dsp:txXfrm>
        <a:off x="5234554" y="3230843"/>
        <a:ext cx="792673" cy="484124"/>
      </dsp:txXfrm>
    </dsp:sp>
    <dsp:sp modelId="{F22BDB45-6DFC-C945-B9D7-19948CF5FF0A}">
      <dsp:nvSpPr>
        <dsp:cNvPr id="0" name=""/>
        <dsp:cNvSpPr/>
      </dsp:nvSpPr>
      <dsp:spPr>
        <a:xfrm>
          <a:off x="6299414" y="1728"/>
          <a:ext cx="1028496" cy="514248"/>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t>Deployment</a:t>
          </a:r>
        </a:p>
      </dsp:txBody>
      <dsp:txXfrm>
        <a:off x="6314476" y="16790"/>
        <a:ext cx="998372" cy="484124"/>
      </dsp:txXfrm>
    </dsp:sp>
    <dsp:sp modelId="{9BB28569-8A99-3547-82B9-E7AE7B791E8E}">
      <dsp:nvSpPr>
        <dsp:cNvPr id="0" name=""/>
        <dsp:cNvSpPr/>
      </dsp:nvSpPr>
      <dsp:spPr>
        <a:xfrm>
          <a:off x="6402264" y="515976"/>
          <a:ext cx="102849" cy="385686"/>
        </a:xfrm>
        <a:custGeom>
          <a:avLst/>
          <a:gdLst/>
          <a:ahLst/>
          <a:cxnLst/>
          <a:rect l="0" t="0" r="0" b="0"/>
          <a:pathLst>
            <a:path>
              <a:moveTo>
                <a:pt x="0" y="0"/>
              </a:moveTo>
              <a:lnTo>
                <a:pt x="0" y="385686"/>
              </a:lnTo>
              <a:lnTo>
                <a:pt x="102849" y="38568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6C47007-297A-9149-B858-94EACBFC3B98}">
      <dsp:nvSpPr>
        <dsp:cNvPr id="0" name=""/>
        <dsp:cNvSpPr/>
      </dsp:nvSpPr>
      <dsp:spPr>
        <a:xfrm>
          <a:off x="6505113" y="644538"/>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Semi-DApp</a:t>
          </a:r>
        </a:p>
      </dsp:txBody>
      <dsp:txXfrm>
        <a:off x="6520175" y="659600"/>
        <a:ext cx="792673" cy="484124"/>
      </dsp:txXfrm>
    </dsp:sp>
    <dsp:sp modelId="{57251F56-0827-F642-9213-6BAF8C24320C}">
      <dsp:nvSpPr>
        <dsp:cNvPr id="0" name=""/>
        <dsp:cNvSpPr/>
      </dsp:nvSpPr>
      <dsp:spPr>
        <a:xfrm>
          <a:off x="6402264" y="515976"/>
          <a:ext cx="102849" cy="1028496"/>
        </a:xfrm>
        <a:custGeom>
          <a:avLst/>
          <a:gdLst/>
          <a:ahLst/>
          <a:cxnLst/>
          <a:rect l="0" t="0" r="0" b="0"/>
          <a:pathLst>
            <a:path>
              <a:moveTo>
                <a:pt x="0" y="0"/>
              </a:moveTo>
              <a:lnTo>
                <a:pt x="0" y="1028496"/>
              </a:lnTo>
              <a:lnTo>
                <a:pt x="102849" y="1028496"/>
              </a:lnTo>
            </a:path>
          </a:pathLst>
        </a:cu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8EDD8C2-B42A-184F-9F26-A856FFE0B12C}">
      <dsp:nvSpPr>
        <dsp:cNvPr id="0" name=""/>
        <dsp:cNvSpPr/>
      </dsp:nvSpPr>
      <dsp:spPr>
        <a:xfrm>
          <a:off x="6505113" y="1287349"/>
          <a:ext cx="822797" cy="514248"/>
        </a:xfrm>
        <a:prstGeom prst="roundRect">
          <a:avLst>
            <a:gd name="adj" fmla="val 10000"/>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DApp</a:t>
          </a:r>
        </a:p>
      </dsp:txBody>
      <dsp:txXfrm>
        <a:off x="6520175" y="1302411"/>
        <a:ext cx="792673" cy="48412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F0AF7-B0CF-DE47-9E2C-AE76E7E9519D}">
      <dsp:nvSpPr>
        <dsp:cNvPr id="0" name=""/>
        <dsp:cNvSpPr/>
      </dsp:nvSpPr>
      <dsp:spPr>
        <a:xfrm>
          <a:off x="0" y="178975"/>
          <a:ext cx="2592288" cy="5103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1190" tIns="187452" rIns="201190"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Introducing external state into blockchain environment through an oracle </a:t>
          </a:r>
        </a:p>
      </dsp:txBody>
      <dsp:txXfrm>
        <a:off x="0" y="178975"/>
        <a:ext cx="2592288" cy="510300"/>
      </dsp:txXfrm>
    </dsp:sp>
    <dsp:sp modelId="{D3FC7012-1DAA-DA46-ADBE-C16636B8D9DC}">
      <dsp:nvSpPr>
        <dsp:cNvPr id="0" name=""/>
        <dsp:cNvSpPr/>
      </dsp:nvSpPr>
      <dsp:spPr>
        <a:xfrm>
          <a:off x="129614" y="46135"/>
          <a:ext cx="1814601" cy="2656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8" tIns="0" rIns="68588" bIns="0" numCol="1" spcCol="1270" anchor="ctr" anchorCtr="0">
          <a:noAutofit/>
        </a:bodyPr>
        <a:lstStyle/>
        <a:p>
          <a:pPr marL="0" lvl="0" indent="0" algn="l" defTabSz="400050">
            <a:lnSpc>
              <a:spcPct val="90000"/>
            </a:lnSpc>
            <a:spcBef>
              <a:spcPct val="0"/>
            </a:spcBef>
            <a:spcAft>
              <a:spcPct val="35000"/>
            </a:spcAft>
            <a:buNone/>
          </a:pPr>
          <a:r>
            <a:rPr lang="en-US" sz="900" kern="1200" dirty="0" err="1"/>
            <a:t>Centralised</a:t>
          </a:r>
          <a:r>
            <a:rPr lang="en-US" sz="900" kern="1200" dirty="0"/>
            <a:t> Oracle</a:t>
          </a:r>
        </a:p>
      </dsp:txBody>
      <dsp:txXfrm>
        <a:off x="142583" y="59104"/>
        <a:ext cx="1788663" cy="239742"/>
      </dsp:txXfrm>
    </dsp:sp>
    <dsp:sp modelId="{148FE86C-F7F1-464B-9BC2-28B1D508CF71}">
      <dsp:nvSpPr>
        <dsp:cNvPr id="0" name=""/>
        <dsp:cNvSpPr/>
      </dsp:nvSpPr>
      <dsp:spPr>
        <a:xfrm>
          <a:off x="0" y="870715"/>
          <a:ext cx="2592288" cy="5103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1190" tIns="187452" rIns="201190"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Introducing external state into blockchain environment through multiple oracles </a:t>
          </a:r>
        </a:p>
      </dsp:txBody>
      <dsp:txXfrm>
        <a:off x="0" y="870715"/>
        <a:ext cx="2592288" cy="510300"/>
      </dsp:txXfrm>
    </dsp:sp>
    <dsp:sp modelId="{24969E15-89B0-DB4E-942C-ADE1E6DD72DA}">
      <dsp:nvSpPr>
        <dsp:cNvPr id="0" name=""/>
        <dsp:cNvSpPr/>
      </dsp:nvSpPr>
      <dsp:spPr>
        <a:xfrm>
          <a:off x="129614" y="737875"/>
          <a:ext cx="1814601" cy="2656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8" tIns="0" rIns="68588" bIns="0" numCol="1" spcCol="1270" anchor="ctr" anchorCtr="0">
          <a:noAutofit/>
        </a:bodyPr>
        <a:lstStyle/>
        <a:p>
          <a:pPr marL="0" lvl="0" indent="0" algn="l" defTabSz="400050">
            <a:lnSpc>
              <a:spcPct val="90000"/>
            </a:lnSpc>
            <a:spcBef>
              <a:spcPct val="0"/>
            </a:spcBef>
            <a:spcAft>
              <a:spcPct val="35000"/>
            </a:spcAft>
            <a:buNone/>
          </a:pPr>
          <a:r>
            <a:rPr lang="en-US" sz="900" kern="1200" dirty="0" err="1"/>
            <a:t>Decentralised</a:t>
          </a:r>
          <a:r>
            <a:rPr lang="en-US" sz="900" kern="1200" dirty="0"/>
            <a:t> Oracles</a:t>
          </a:r>
        </a:p>
      </dsp:txBody>
      <dsp:txXfrm>
        <a:off x="142583" y="750844"/>
        <a:ext cx="1788663" cy="239742"/>
      </dsp:txXfrm>
    </dsp:sp>
    <dsp:sp modelId="{3C94F0F8-7EBF-BD4E-A0AD-A901A507D912}">
      <dsp:nvSpPr>
        <dsp:cNvPr id="0" name=""/>
        <dsp:cNvSpPr/>
      </dsp:nvSpPr>
      <dsp:spPr>
        <a:xfrm>
          <a:off x="0" y="1562455"/>
          <a:ext cx="2592288" cy="5103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1190" tIns="187452" rIns="201190"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A method for a group of blockchain users to make a collective decision </a:t>
          </a:r>
        </a:p>
      </dsp:txBody>
      <dsp:txXfrm>
        <a:off x="0" y="1562455"/>
        <a:ext cx="2592288" cy="510300"/>
      </dsp:txXfrm>
    </dsp:sp>
    <dsp:sp modelId="{AA435AA0-F75A-DB47-8EBE-6CA64DE63185}">
      <dsp:nvSpPr>
        <dsp:cNvPr id="0" name=""/>
        <dsp:cNvSpPr/>
      </dsp:nvSpPr>
      <dsp:spPr>
        <a:xfrm>
          <a:off x="129614" y="1429615"/>
          <a:ext cx="1814601" cy="2656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8" tIns="0" rIns="68588" bIns="0" numCol="1" spcCol="1270" anchor="ctr" anchorCtr="0">
          <a:noAutofit/>
        </a:bodyPr>
        <a:lstStyle/>
        <a:p>
          <a:pPr marL="0" lvl="0" indent="0" algn="l" defTabSz="400050">
            <a:lnSpc>
              <a:spcPct val="90000"/>
            </a:lnSpc>
            <a:spcBef>
              <a:spcPct val="0"/>
            </a:spcBef>
            <a:spcAft>
              <a:spcPct val="35000"/>
            </a:spcAft>
            <a:buNone/>
          </a:pPr>
          <a:r>
            <a:rPr lang="en-US" sz="900" kern="1200" dirty="0"/>
            <a:t>Voting</a:t>
          </a:r>
        </a:p>
      </dsp:txBody>
      <dsp:txXfrm>
        <a:off x="142583" y="1442584"/>
        <a:ext cx="1788663" cy="239742"/>
      </dsp:txXfrm>
    </dsp:sp>
    <dsp:sp modelId="{9C96D635-3AD3-1F42-AD18-0EC08EF7EBDC}">
      <dsp:nvSpPr>
        <dsp:cNvPr id="0" name=""/>
        <dsp:cNvSpPr/>
      </dsp:nvSpPr>
      <dsp:spPr>
        <a:xfrm>
          <a:off x="0" y="2254195"/>
          <a:ext cx="2592288" cy="5103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1190" tIns="187452" rIns="201190"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Introducing blockchain state into external world through an oracle </a:t>
          </a:r>
        </a:p>
      </dsp:txBody>
      <dsp:txXfrm>
        <a:off x="0" y="2254195"/>
        <a:ext cx="2592288" cy="510300"/>
      </dsp:txXfrm>
    </dsp:sp>
    <dsp:sp modelId="{0D425566-CC0E-4340-ACE4-391D78717F61}">
      <dsp:nvSpPr>
        <dsp:cNvPr id="0" name=""/>
        <dsp:cNvSpPr/>
      </dsp:nvSpPr>
      <dsp:spPr>
        <a:xfrm>
          <a:off x="129614" y="2121355"/>
          <a:ext cx="1814601" cy="2656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8" tIns="0" rIns="68588" bIns="0" numCol="1" spcCol="1270" anchor="ctr" anchorCtr="0">
          <a:noAutofit/>
        </a:bodyPr>
        <a:lstStyle/>
        <a:p>
          <a:pPr marL="0" lvl="0" indent="0" algn="l" defTabSz="400050">
            <a:lnSpc>
              <a:spcPct val="90000"/>
            </a:lnSpc>
            <a:spcBef>
              <a:spcPct val="0"/>
            </a:spcBef>
            <a:spcAft>
              <a:spcPct val="35000"/>
            </a:spcAft>
            <a:buNone/>
          </a:pPr>
          <a:r>
            <a:rPr lang="en-US" sz="900" kern="1200" dirty="0"/>
            <a:t>Reverse Oracle</a:t>
          </a:r>
        </a:p>
      </dsp:txBody>
      <dsp:txXfrm>
        <a:off x="142583" y="2134324"/>
        <a:ext cx="1788663" cy="239742"/>
      </dsp:txXfrm>
    </dsp:sp>
    <dsp:sp modelId="{A87A1472-9EB7-E846-9293-8193BC393C82}">
      <dsp:nvSpPr>
        <dsp:cNvPr id="0" name=""/>
        <dsp:cNvSpPr/>
      </dsp:nvSpPr>
      <dsp:spPr>
        <a:xfrm>
          <a:off x="0" y="2945935"/>
          <a:ext cx="2592288" cy="63787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1190" tIns="187452" rIns="201190"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A bidirectional binding between a legal agreement &amp; corresponding SC that codifies legal agreement </a:t>
          </a:r>
        </a:p>
      </dsp:txBody>
      <dsp:txXfrm>
        <a:off x="0" y="2945935"/>
        <a:ext cx="2592288" cy="637875"/>
      </dsp:txXfrm>
    </dsp:sp>
    <dsp:sp modelId="{7D485CAA-7719-AC4E-8C5B-2C4474330F40}">
      <dsp:nvSpPr>
        <dsp:cNvPr id="0" name=""/>
        <dsp:cNvSpPr/>
      </dsp:nvSpPr>
      <dsp:spPr>
        <a:xfrm>
          <a:off x="129614" y="2813095"/>
          <a:ext cx="1814601" cy="2656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8" tIns="0" rIns="68588" bIns="0" numCol="1" spcCol="1270" anchor="ctr" anchorCtr="0">
          <a:noAutofit/>
        </a:bodyPr>
        <a:lstStyle/>
        <a:p>
          <a:pPr marL="0" lvl="0" indent="0" algn="l" defTabSz="400050">
            <a:lnSpc>
              <a:spcPct val="90000"/>
            </a:lnSpc>
            <a:spcBef>
              <a:spcPct val="0"/>
            </a:spcBef>
            <a:spcAft>
              <a:spcPct val="35000"/>
            </a:spcAft>
            <a:buNone/>
          </a:pPr>
          <a:r>
            <a:rPr lang="en-US" sz="900" kern="1200" dirty="0"/>
            <a:t>Legal &amp; smart contract pair </a:t>
          </a:r>
        </a:p>
      </dsp:txBody>
      <dsp:txXfrm>
        <a:off x="142583" y="2826064"/>
        <a:ext cx="1788663" cy="23974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F0AF7-B0CF-DE47-9E2C-AE76E7E9519D}">
      <dsp:nvSpPr>
        <dsp:cNvPr id="0" name=""/>
        <dsp:cNvSpPr/>
      </dsp:nvSpPr>
      <dsp:spPr>
        <a:xfrm>
          <a:off x="0" y="311093"/>
          <a:ext cx="2701887" cy="567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696" tIns="208280" rIns="209696"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Ensuring confidentiality of data stored on blockchain by encrypting it </a:t>
          </a:r>
        </a:p>
      </dsp:txBody>
      <dsp:txXfrm>
        <a:off x="0" y="311093"/>
        <a:ext cx="2701887" cy="567000"/>
      </dsp:txXfrm>
    </dsp:sp>
    <dsp:sp modelId="{D3FC7012-1DAA-DA46-ADBE-C16636B8D9DC}">
      <dsp:nvSpPr>
        <dsp:cNvPr id="0" name=""/>
        <dsp:cNvSpPr/>
      </dsp:nvSpPr>
      <dsp:spPr>
        <a:xfrm>
          <a:off x="135094" y="163493"/>
          <a:ext cx="1891320" cy="29519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487" tIns="0" rIns="71487" bIns="0" numCol="1" spcCol="1270" anchor="ctr" anchorCtr="0">
          <a:noAutofit/>
        </a:bodyPr>
        <a:lstStyle/>
        <a:p>
          <a:pPr marL="0" lvl="0" indent="0" algn="l" defTabSz="444500">
            <a:lnSpc>
              <a:spcPct val="90000"/>
            </a:lnSpc>
            <a:spcBef>
              <a:spcPct val="0"/>
            </a:spcBef>
            <a:spcAft>
              <a:spcPct val="35000"/>
            </a:spcAft>
            <a:buNone/>
          </a:pPr>
          <a:r>
            <a:rPr lang="en-US" sz="1000" kern="1200" dirty="0"/>
            <a:t>Encrypting On-chain Data</a:t>
          </a:r>
        </a:p>
      </dsp:txBody>
      <dsp:txXfrm>
        <a:off x="149504" y="177903"/>
        <a:ext cx="1862500" cy="266379"/>
      </dsp:txXfrm>
    </dsp:sp>
    <dsp:sp modelId="{148FE86C-F7F1-464B-9BC2-28B1D508CF71}">
      <dsp:nvSpPr>
        <dsp:cNvPr id="0" name=""/>
        <dsp:cNvSpPr/>
      </dsp:nvSpPr>
      <dsp:spPr>
        <a:xfrm>
          <a:off x="0" y="1079693"/>
          <a:ext cx="2701887" cy="567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696" tIns="208280" rIns="209696"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Using tokens on blockchain to represent transferable digital or physical assets</a:t>
          </a:r>
        </a:p>
      </dsp:txBody>
      <dsp:txXfrm>
        <a:off x="0" y="1079693"/>
        <a:ext cx="2701887" cy="567000"/>
      </dsp:txXfrm>
    </dsp:sp>
    <dsp:sp modelId="{24969E15-89B0-DB4E-942C-ADE1E6DD72DA}">
      <dsp:nvSpPr>
        <dsp:cNvPr id="0" name=""/>
        <dsp:cNvSpPr/>
      </dsp:nvSpPr>
      <dsp:spPr>
        <a:xfrm>
          <a:off x="135094" y="932093"/>
          <a:ext cx="1891320" cy="29519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487" tIns="0" rIns="71487" bIns="0" numCol="1" spcCol="1270" anchor="ctr" anchorCtr="0">
          <a:noAutofit/>
        </a:bodyPr>
        <a:lstStyle/>
        <a:p>
          <a:pPr marL="0" lvl="0" indent="0" algn="l" defTabSz="444500">
            <a:lnSpc>
              <a:spcPct val="90000"/>
            </a:lnSpc>
            <a:spcBef>
              <a:spcPct val="0"/>
            </a:spcBef>
            <a:spcAft>
              <a:spcPct val="35000"/>
            </a:spcAft>
            <a:buNone/>
          </a:pPr>
          <a:r>
            <a:rPr lang="en-US" sz="1000" kern="1200" dirty="0" err="1"/>
            <a:t>Tokenisation</a:t>
          </a:r>
          <a:r>
            <a:rPr lang="en-US" sz="1000" kern="1200" dirty="0"/>
            <a:t> </a:t>
          </a:r>
        </a:p>
      </dsp:txBody>
      <dsp:txXfrm>
        <a:off x="149504" y="946503"/>
        <a:ext cx="1862500" cy="266379"/>
      </dsp:txXfrm>
    </dsp:sp>
    <dsp:sp modelId="{3C94F0F8-7EBF-BD4E-A0AD-A901A507D912}">
      <dsp:nvSpPr>
        <dsp:cNvPr id="0" name=""/>
        <dsp:cNvSpPr/>
      </dsp:nvSpPr>
      <dsp:spPr>
        <a:xfrm>
          <a:off x="0" y="1848294"/>
          <a:ext cx="2701887" cy="7087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696" tIns="208280" rIns="209696"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Using hashing to ensure integrity of arbitrarily large datasets which may not fit directly on blockchain </a:t>
          </a:r>
        </a:p>
      </dsp:txBody>
      <dsp:txXfrm>
        <a:off x="0" y="1848294"/>
        <a:ext cx="2701887" cy="708750"/>
      </dsp:txXfrm>
    </dsp:sp>
    <dsp:sp modelId="{AA435AA0-F75A-DB47-8EBE-6CA64DE63185}">
      <dsp:nvSpPr>
        <dsp:cNvPr id="0" name=""/>
        <dsp:cNvSpPr/>
      </dsp:nvSpPr>
      <dsp:spPr>
        <a:xfrm>
          <a:off x="135094" y="1700694"/>
          <a:ext cx="1891320" cy="29519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487" tIns="0" rIns="71487" bIns="0" numCol="1" spcCol="1270" anchor="ctr" anchorCtr="0">
          <a:noAutofit/>
        </a:bodyPr>
        <a:lstStyle/>
        <a:p>
          <a:pPr marL="0" lvl="0" indent="0" algn="l" defTabSz="444500">
            <a:lnSpc>
              <a:spcPct val="90000"/>
            </a:lnSpc>
            <a:spcBef>
              <a:spcPct val="0"/>
            </a:spcBef>
            <a:spcAft>
              <a:spcPct val="35000"/>
            </a:spcAft>
            <a:buNone/>
          </a:pPr>
          <a:r>
            <a:rPr lang="en-US" sz="1000" kern="1200" dirty="0"/>
            <a:t>Off-chain Data Storage</a:t>
          </a:r>
        </a:p>
      </dsp:txBody>
      <dsp:txXfrm>
        <a:off x="149504" y="1715104"/>
        <a:ext cx="1862500" cy="266379"/>
      </dsp:txXfrm>
    </dsp:sp>
    <dsp:sp modelId="{9C96D635-3AD3-1F42-AD18-0EC08EF7EBDC}">
      <dsp:nvSpPr>
        <dsp:cNvPr id="0" name=""/>
        <dsp:cNvSpPr/>
      </dsp:nvSpPr>
      <dsp:spPr>
        <a:xfrm>
          <a:off x="0" y="2758644"/>
          <a:ext cx="2701887" cy="8505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9696" tIns="208280" rIns="209696"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TXs that are too small in value or require much shorter latency, are performed off-chain with periodic recording of net TX settlements on-chain </a:t>
          </a:r>
        </a:p>
      </dsp:txBody>
      <dsp:txXfrm>
        <a:off x="0" y="2758644"/>
        <a:ext cx="2701887" cy="850500"/>
      </dsp:txXfrm>
    </dsp:sp>
    <dsp:sp modelId="{0D425566-CC0E-4340-ACE4-391D78717F61}">
      <dsp:nvSpPr>
        <dsp:cNvPr id="0" name=""/>
        <dsp:cNvSpPr/>
      </dsp:nvSpPr>
      <dsp:spPr>
        <a:xfrm>
          <a:off x="135094" y="2611044"/>
          <a:ext cx="1891320" cy="29519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487" tIns="0" rIns="71487" bIns="0" numCol="1" spcCol="1270" anchor="ctr" anchorCtr="0">
          <a:noAutofit/>
        </a:bodyPr>
        <a:lstStyle/>
        <a:p>
          <a:pPr marL="0" lvl="0" indent="0" algn="l" defTabSz="444500">
            <a:lnSpc>
              <a:spcPct val="90000"/>
            </a:lnSpc>
            <a:spcBef>
              <a:spcPct val="0"/>
            </a:spcBef>
            <a:spcAft>
              <a:spcPct val="35000"/>
            </a:spcAft>
            <a:buNone/>
          </a:pPr>
          <a:r>
            <a:rPr lang="en-US" sz="1000" kern="1200" dirty="0"/>
            <a:t>State Channel</a:t>
          </a:r>
        </a:p>
      </dsp:txBody>
      <dsp:txXfrm>
        <a:off x="149504" y="2625454"/>
        <a:ext cx="1862500" cy="26637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F0AF7-B0CF-DE47-9E2C-AE76E7E9519D}">
      <dsp:nvSpPr>
        <dsp:cNvPr id="0" name=""/>
        <dsp:cNvSpPr/>
      </dsp:nvSpPr>
      <dsp:spPr>
        <a:xfrm>
          <a:off x="0" y="295694"/>
          <a:ext cx="2497376" cy="5103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3824" tIns="187452" rIns="193824"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TXs are required to be </a:t>
          </a:r>
          <a:r>
            <a:rPr lang="en-US" sz="900" kern="1200" dirty="0" err="1"/>
            <a:t>authorised</a:t>
          </a:r>
          <a:r>
            <a:rPr lang="en-US" sz="900" kern="1200" dirty="0"/>
            <a:t> by a subset of pre-defined addresses </a:t>
          </a:r>
        </a:p>
      </dsp:txBody>
      <dsp:txXfrm>
        <a:off x="0" y="295694"/>
        <a:ext cx="2497376" cy="510300"/>
      </dsp:txXfrm>
    </dsp:sp>
    <dsp:sp modelId="{D3FC7012-1DAA-DA46-ADBE-C16636B8D9DC}">
      <dsp:nvSpPr>
        <dsp:cNvPr id="0" name=""/>
        <dsp:cNvSpPr/>
      </dsp:nvSpPr>
      <dsp:spPr>
        <a:xfrm>
          <a:off x="124868" y="162855"/>
          <a:ext cx="1748163" cy="2656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076" tIns="0" rIns="66076" bIns="0" numCol="1" spcCol="1270" anchor="ctr" anchorCtr="0">
          <a:noAutofit/>
        </a:bodyPr>
        <a:lstStyle/>
        <a:p>
          <a:pPr marL="0" lvl="0" indent="0" algn="l" defTabSz="400050">
            <a:lnSpc>
              <a:spcPct val="90000"/>
            </a:lnSpc>
            <a:spcBef>
              <a:spcPct val="0"/>
            </a:spcBef>
            <a:spcAft>
              <a:spcPct val="35000"/>
            </a:spcAft>
            <a:buNone/>
          </a:pPr>
          <a:r>
            <a:rPr lang="en-US" sz="900" kern="1200" dirty="0"/>
            <a:t>Multiple </a:t>
          </a:r>
          <a:r>
            <a:rPr lang="en-US" sz="900" kern="1200" dirty="0" err="1"/>
            <a:t>Authorisation</a:t>
          </a:r>
          <a:endParaRPr lang="en-US" sz="900" kern="1200" dirty="0"/>
        </a:p>
      </dsp:txBody>
      <dsp:txXfrm>
        <a:off x="137837" y="175824"/>
        <a:ext cx="1722225" cy="239742"/>
      </dsp:txXfrm>
    </dsp:sp>
    <dsp:sp modelId="{148FE86C-F7F1-464B-9BC2-28B1D508CF71}">
      <dsp:nvSpPr>
        <dsp:cNvPr id="0" name=""/>
        <dsp:cNvSpPr/>
      </dsp:nvSpPr>
      <dsp:spPr>
        <a:xfrm>
          <a:off x="0" y="987434"/>
          <a:ext cx="2497376" cy="5103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3824" tIns="187452" rIns="193824"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Using a hash created off-chain to dynamically bind authority for a TX</a:t>
          </a:r>
        </a:p>
      </dsp:txBody>
      <dsp:txXfrm>
        <a:off x="0" y="987434"/>
        <a:ext cx="2497376" cy="510300"/>
      </dsp:txXfrm>
    </dsp:sp>
    <dsp:sp modelId="{24969E15-89B0-DB4E-942C-ADE1E6DD72DA}">
      <dsp:nvSpPr>
        <dsp:cNvPr id="0" name=""/>
        <dsp:cNvSpPr/>
      </dsp:nvSpPr>
      <dsp:spPr>
        <a:xfrm>
          <a:off x="124868" y="854595"/>
          <a:ext cx="1748163" cy="2656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076" tIns="0" rIns="66076" bIns="0" numCol="1" spcCol="1270" anchor="ctr" anchorCtr="0">
          <a:noAutofit/>
        </a:bodyPr>
        <a:lstStyle/>
        <a:p>
          <a:pPr marL="0" lvl="0" indent="0" algn="l" defTabSz="400050">
            <a:lnSpc>
              <a:spcPct val="90000"/>
            </a:lnSpc>
            <a:spcBef>
              <a:spcPct val="0"/>
            </a:spcBef>
            <a:spcAft>
              <a:spcPct val="35000"/>
            </a:spcAft>
            <a:buNone/>
          </a:pPr>
          <a:r>
            <a:rPr lang="en-US" sz="900" kern="1200" dirty="0"/>
            <a:t>Dynamic </a:t>
          </a:r>
          <a:r>
            <a:rPr lang="en-US" sz="900" kern="1200" dirty="0" err="1"/>
            <a:t>Authorisation</a:t>
          </a:r>
          <a:r>
            <a:rPr lang="en-US" sz="900" kern="1200" dirty="0"/>
            <a:t> </a:t>
          </a:r>
        </a:p>
      </dsp:txBody>
      <dsp:txXfrm>
        <a:off x="137837" y="867564"/>
        <a:ext cx="1722225" cy="239742"/>
      </dsp:txXfrm>
    </dsp:sp>
    <dsp:sp modelId="{3C94F0F8-7EBF-BD4E-A0AD-A901A507D912}">
      <dsp:nvSpPr>
        <dsp:cNvPr id="0" name=""/>
        <dsp:cNvSpPr/>
      </dsp:nvSpPr>
      <dsp:spPr>
        <a:xfrm>
          <a:off x="0" y="1679175"/>
          <a:ext cx="2497376" cy="7654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3824" tIns="187452" rIns="193824"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Waiting for enough number of blocks as confirmation to ensure that a TX added into blockchain is immutable with high probability </a:t>
          </a:r>
        </a:p>
      </dsp:txBody>
      <dsp:txXfrm>
        <a:off x="0" y="1679175"/>
        <a:ext cx="2497376" cy="765450"/>
      </dsp:txXfrm>
    </dsp:sp>
    <dsp:sp modelId="{AA435AA0-F75A-DB47-8EBE-6CA64DE63185}">
      <dsp:nvSpPr>
        <dsp:cNvPr id="0" name=""/>
        <dsp:cNvSpPr/>
      </dsp:nvSpPr>
      <dsp:spPr>
        <a:xfrm>
          <a:off x="124868" y="1546335"/>
          <a:ext cx="1748163" cy="2656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076" tIns="0" rIns="66076" bIns="0" numCol="1" spcCol="1270" anchor="ctr" anchorCtr="0">
          <a:noAutofit/>
        </a:bodyPr>
        <a:lstStyle/>
        <a:p>
          <a:pPr marL="0" lvl="0" indent="0" algn="l" defTabSz="400050">
            <a:lnSpc>
              <a:spcPct val="90000"/>
            </a:lnSpc>
            <a:spcBef>
              <a:spcPct val="0"/>
            </a:spcBef>
            <a:spcAft>
              <a:spcPct val="35000"/>
            </a:spcAft>
            <a:buNone/>
          </a:pPr>
          <a:r>
            <a:rPr lang="en-US" sz="900" kern="1200" dirty="0"/>
            <a:t>X-Confirmation</a:t>
          </a:r>
        </a:p>
      </dsp:txBody>
      <dsp:txXfrm>
        <a:off x="137837" y="1559304"/>
        <a:ext cx="1722225" cy="239742"/>
      </dsp:txXfrm>
    </dsp:sp>
    <dsp:sp modelId="{9C96D635-3AD3-1F42-AD18-0EC08EF7EBDC}">
      <dsp:nvSpPr>
        <dsp:cNvPr id="0" name=""/>
        <dsp:cNvSpPr/>
      </dsp:nvSpPr>
      <dsp:spPr>
        <a:xfrm>
          <a:off x="0" y="2626064"/>
          <a:ext cx="2497376" cy="7654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3824" tIns="187452" rIns="193824"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t>A deposit from a user, which will be paid back to user for her honesty or given to others to compensate them for dishonesty of user </a:t>
          </a:r>
        </a:p>
      </dsp:txBody>
      <dsp:txXfrm>
        <a:off x="0" y="2626064"/>
        <a:ext cx="2497376" cy="765450"/>
      </dsp:txXfrm>
    </dsp:sp>
    <dsp:sp modelId="{0D425566-CC0E-4340-ACE4-391D78717F61}">
      <dsp:nvSpPr>
        <dsp:cNvPr id="0" name=""/>
        <dsp:cNvSpPr/>
      </dsp:nvSpPr>
      <dsp:spPr>
        <a:xfrm>
          <a:off x="124868" y="2493224"/>
          <a:ext cx="1748163" cy="2656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076" tIns="0" rIns="66076" bIns="0" numCol="1" spcCol="1270" anchor="ctr" anchorCtr="0">
          <a:noAutofit/>
        </a:bodyPr>
        <a:lstStyle/>
        <a:p>
          <a:pPr marL="0" lvl="0" indent="0" algn="l" defTabSz="400050">
            <a:lnSpc>
              <a:spcPct val="90000"/>
            </a:lnSpc>
            <a:spcBef>
              <a:spcPct val="0"/>
            </a:spcBef>
            <a:spcAft>
              <a:spcPct val="35000"/>
            </a:spcAft>
            <a:buNone/>
          </a:pPr>
          <a:r>
            <a:rPr lang="en-US" sz="900" kern="1200" dirty="0"/>
            <a:t>Security Deposit</a:t>
          </a:r>
        </a:p>
      </dsp:txBody>
      <dsp:txXfrm>
        <a:off x="137837" y="2506193"/>
        <a:ext cx="1722225" cy="23974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F0AF7-B0CF-DE47-9E2C-AE76E7E9519D}">
      <dsp:nvSpPr>
        <dsp:cNvPr id="0" name=""/>
        <dsp:cNvSpPr/>
      </dsp:nvSpPr>
      <dsp:spPr>
        <a:xfrm>
          <a:off x="0" y="243090"/>
          <a:ext cx="4021499" cy="467774"/>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12113" tIns="229108" rIns="312113"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Address and version of a SC is stored in a contract registry</a:t>
          </a:r>
        </a:p>
      </dsp:txBody>
      <dsp:txXfrm>
        <a:off x="0" y="243090"/>
        <a:ext cx="4021499" cy="467774"/>
      </dsp:txXfrm>
    </dsp:sp>
    <dsp:sp modelId="{D3FC7012-1DAA-DA46-ADBE-C16636B8D9DC}">
      <dsp:nvSpPr>
        <dsp:cNvPr id="0" name=""/>
        <dsp:cNvSpPr/>
      </dsp:nvSpPr>
      <dsp:spPr>
        <a:xfrm>
          <a:off x="201074" y="80730"/>
          <a:ext cx="2815049" cy="324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402" tIns="0" rIns="106402" bIns="0" numCol="1" spcCol="1270" anchor="ctr" anchorCtr="0">
          <a:noAutofit/>
        </a:bodyPr>
        <a:lstStyle/>
        <a:p>
          <a:pPr marL="0" lvl="0" indent="0" algn="l" defTabSz="488950">
            <a:lnSpc>
              <a:spcPct val="90000"/>
            </a:lnSpc>
            <a:spcBef>
              <a:spcPct val="0"/>
            </a:spcBef>
            <a:spcAft>
              <a:spcPct val="35000"/>
            </a:spcAft>
            <a:buNone/>
          </a:pPr>
          <a:r>
            <a:rPr lang="en-US" sz="1100" kern="1200" dirty="0"/>
            <a:t>Contract Registry</a:t>
          </a:r>
        </a:p>
      </dsp:txBody>
      <dsp:txXfrm>
        <a:off x="216926" y="96582"/>
        <a:ext cx="2783345" cy="293016"/>
      </dsp:txXfrm>
    </dsp:sp>
    <dsp:sp modelId="{148FE86C-F7F1-464B-9BC2-28B1D508CF71}">
      <dsp:nvSpPr>
        <dsp:cNvPr id="0" name=""/>
        <dsp:cNvSpPr/>
      </dsp:nvSpPr>
      <dsp:spPr>
        <a:xfrm>
          <a:off x="0" y="932625"/>
          <a:ext cx="4021499" cy="467774"/>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12113" tIns="229108" rIns="312113"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Restrict access to invocation of functions defined in a SC</a:t>
          </a:r>
        </a:p>
      </dsp:txBody>
      <dsp:txXfrm>
        <a:off x="0" y="932625"/>
        <a:ext cx="4021499" cy="467774"/>
      </dsp:txXfrm>
    </dsp:sp>
    <dsp:sp modelId="{24969E15-89B0-DB4E-942C-ADE1E6DD72DA}">
      <dsp:nvSpPr>
        <dsp:cNvPr id="0" name=""/>
        <dsp:cNvSpPr/>
      </dsp:nvSpPr>
      <dsp:spPr>
        <a:xfrm>
          <a:off x="201074" y="770265"/>
          <a:ext cx="2815049" cy="324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402" tIns="0" rIns="106402" bIns="0" numCol="1" spcCol="1270" anchor="ctr" anchorCtr="0">
          <a:noAutofit/>
        </a:bodyPr>
        <a:lstStyle/>
        <a:p>
          <a:pPr marL="0" lvl="0" indent="0" algn="l" defTabSz="488950">
            <a:lnSpc>
              <a:spcPct val="90000"/>
            </a:lnSpc>
            <a:spcBef>
              <a:spcPct val="0"/>
            </a:spcBef>
            <a:spcAft>
              <a:spcPct val="35000"/>
            </a:spcAft>
            <a:buNone/>
          </a:pPr>
          <a:r>
            <a:rPr lang="en-US" sz="1100" kern="1200" dirty="0"/>
            <a:t>Embedded Permission</a:t>
          </a:r>
        </a:p>
      </dsp:txBody>
      <dsp:txXfrm>
        <a:off x="216926" y="786117"/>
        <a:ext cx="2783345" cy="293016"/>
      </dsp:txXfrm>
    </dsp:sp>
    <dsp:sp modelId="{3C94F0F8-7EBF-BD4E-A0AD-A901A507D912}">
      <dsp:nvSpPr>
        <dsp:cNvPr id="0" name=""/>
        <dsp:cNvSpPr/>
      </dsp:nvSpPr>
      <dsp:spPr>
        <a:xfrm>
          <a:off x="0" y="1622160"/>
          <a:ext cx="4021499" cy="467774"/>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12113" tIns="229108" rIns="312113"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Storing data in a separate SC from business logic</a:t>
          </a:r>
        </a:p>
      </dsp:txBody>
      <dsp:txXfrm>
        <a:off x="0" y="1622160"/>
        <a:ext cx="4021499" cy="467774"/>
      </dsp:txXfrm>
    </dsp:sp>
    <dsp:sp modelId="{AA435AA0-F75A-DB47-8EBE-6CA64DE63185}">
      <dsp:nvSpPr>
        <dsp:cNvPr id="0" name=""/>
        <dsp:cNvSpPr/>
      </dsp:nvSpPr>
      <dsp:spPr>
        <a:xfrm>
          <a:off x="201074" y="1459800"/>
          <a:ext cx="2815049" cy="324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402" tIns="0" rIns="106402" bIns="0" numCol="1" spcCol="1270" anchor="ctr" anchorCtr="0">
          <a:noAutofit/>
        </a:bodyPr>
        <a:lstStyle/>
        <a:p>
          <a:pPr marL="0" lvl="0" indent="0" algn="l" defTabSz="488950">
            <a:lnSpc>
              <a:spcPct val="90000"/>
            </a:lnSpc>
            <a:spcBef>
              <a:spcPct val="0"/>
            </a:spcBef>
            <a:spcAft>
              <a:spcPct val="35000"/>
            </a:spcAft>
            <a:buNone/>
          </a:pPr>
          <a:r>
            <a:rPr lang="en-US" sz="1100" kern="1200" dirty="0"/>
            <a:t>Data Contract</a:t>
          </a:r>
        </a:p>
      </dsp:txBody>
      <dsp:txXfrm>
        <a:off x="216926" y="1475652"/>
        <a:ext cx="2783345" cy="293016"/>
      </dsp:txXfrm>
    </dsp:sp>
    <dsp:sp modelId="{9C96D635-3AD3-1F42-AD18-0EC08EF7EBDC}">
      <dsp:nvSpPr>
        <dsp:cNvPr id="0" name=""/>
        <dsp:cNvSpPr/>
      </dsp:nvSpPr>
      <dsp:spPr>
        <a:xfrm>
          <a:off x="0" y="2311695"/>
          <a:ext cx="4021499" cy="6237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12113" tIns="229108" rIns="312113"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An on-chain template contract used as a factory that generates SC instances from template</a:t>
          </a:r>
        </a:p>
      </dsp:txBody>
      <dsp:txXfrm>
        <a:off x="0" y="2311695"/>
        <a:ext cx="4021499" cy="623700"/>
      </dsp:txXfrm>
    </dsp:sp>
    <dsp:sp modelId="{0D425566-CC0E-4340-ACE4-391D78717F61}">
      <dsp:nvSpPr>
        <dsp:cNvPr id="0" name=""/>
        <dsp:cNvSpPr/>
      </dsp:nvSpPr>
      <dsp:spPr>
        <a:xfrm>
          <a:off x="201074" y="2149335"/>
          <a:ext cx="2815049" cy="324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402" tIns="0" rIns="106402" bIns="0" numCol="1" spcCol="1270" anchor="ctr" anchorCtr="0">
          <a:noAutofit/>
        </a:bodyPr>
        <a:lstStyle/>
        <a:p>
          <a:pPr marL="0" lvl="0" indent="0" algn="l" defTabSz="488950">
            <a:lnSpc>
              <a:spcPct val="90000"/>
            </a:lnSpc>
            <a:spcBef>
              <a:spcPct val="0"/>
            </a:spcBef>
            <a:spcAft>
              <a:spcPct val="35000"/>
            </a:spcAft>
            <a:buNone/>
          </a:pPr>
          <a:r>
            <a:rPr lang="en-US" sz="1100" kern="1200" dirty="0"/>
            <a:t>Factory Contract</a:t>
          </a:r>
        </a:p>
      </dsp:txBody>
      <dsp:txXfrm>
        <a:off x="216926" y="2165187"/>
        <a:ext cx="2783345" cy="293016"/>
      </dsp:txXfrm>
    </dsp:sp>
    <dsp:sp modelId="{A87A1472-9EB7-E846-9293-8193BC393C82}">
      <dsp:nvSpPr>
        <dsp:cNvPr id="0" name=""/>
        <dsp:cNvSpPr/>
      </dsp:nvSpPr>
      <dsp:spPr>
        <a:xfrm>
          <a:off x="0" y="3157155"/>
          <a:ext cx="4021499" cy="467774"/>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12113" tIns="229108" rIns="312113"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A reward to caller of a SC function for invocation</a:t>
          </a:r>
        </a:p>
      </dsp:txBody>
      <dsp:txXfrm>
        <a:off x="0" y="3157155"/>
        <a:ext cx="4021499" cy="467774"/>
      </dsp:txXfrm>
    </dsp:sp>
    <dsp:sp modelId="{7D485CAA-7719-AC4E-8C5B-2C4474330F40}">
      <dsp:nvSpPr>
        <dsp:cNvPr id="0" name=""/>
        <dsp:cNvSpPr/>
      </dsp:nvSpPr>
      <dsp:spPr>
        <a:xfrm>
          <a:off x="201074" y="2994795"/>
          <a:ext cx="2815049" cy="324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402" tIns="0" rIns="106402" bIns="0" numCol="1" spcCol="1270" anchor="ctr" anchorCtr="0">
          <a:noAutofit/>
        </a:bodyPr>
        <a:lstStyle/>
        <a:p>
          <a:pPr marL="0" lvl="0" indent="0" algn="l" defTabSz="488950">
            <a:lnSpc>
              <a:spcPct val="90000"/>
            </a:lnSpc>
            <a:spcBef>
              <a:spcPct val="0"/>
            </a:spcBef>
            <a:spcAft>
              <a:spcPct val="35000"/>
            </a:spcAft>
            <a:buNone/>
          </a:pPr>
          <a:r>
            <a:rPr lang="en-US" sz="1100" kern="1200" dirty="0"/>
            <a:t>Incentive Execution</a:t>
          </a:r>
        </a:p>
      </dsp:txBody>
      <dsp:txXfrm>
        <a:off x="216926" y="3010647"/>
        <a:ext cx="2783345" cy="29301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F0AF7-B0CF-DE47-9E2C-AE76E7E9519D}">
      <dsp:nvSpPr>
        <dsp:cNvPr id="0" name=""/>
        <dsp:cNvSpPr/>
      </dsp:nvSpPr>
      <dsp:spPr>
        <a:xfrm>
          <a:off x="0" y="175204"/>
          <a:ext cx="3423958" cy="7796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5737" tIns="229108" rIns="265737"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t>Blockchain-based application hosted on P2P network, with a website that allows users to interact with SCs</a:t>
          </a:r>
        </a:p>
      </dsp:txBody>
      <dsp:txXfrm>
        <a:off x="0" y="175204"/>
        <a:ext cx="3423958" cy="779625"/>
      </dsp:txXfrm>
    </dsp:sp>
    <dsp:sp modelId="{D3FC7012-1DAA-DA46-ADBE-C16636B8D9DC}">
      <dsp:nvSpPr>
        <dsp:cNvPr id="0" name=""/>
        <dsp:cNvSpPr/>
      </dsp:nvSpPr>
      <dsp:spPr>
        <a:xfrm>
          <a:off x="171197" y="12844"/>
          <a:ext cx="2396770" cy="324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592" tIns="0" rIns="90592" bIns="0" numCol="1" spcCol="1270" anchor="ctr" anchorCtr="0">
          <a:noAutofit/>
        </a:bodyPr>
        <a:lstStyle/>
        <a:p>
          <a:pPr marL="0" lvl="0" indent="0" algn="l" defTabSz="488950">
            <a:lnSpc>
              <a:spcPct val="90000"/>
            </a:lnSpc>
            <a:spcBef>
              <a:spcPct val="0"/>
            </a:spcBef>
            <a:spcAft>
              <a:spcPct val="35000"/>
            </a:spcAft>
            <a:buNone/>
          </a:pPr>
          <a:r>
            <a:rPr lang="en-US" sz="1100" kern="1200" dirty="0"/>
            <a:t>DApp </a:t>
          </a:r>
        </a:p>
      </dsp:txBody>
      <dsp:txXfrm>
        <a:off x="187049" y="28696"/>
        <a:ext cx="2365066" cy="293016"/>
      </dsp:txXfrm>
    </dsp:sp>
    <dsp:sp modelId="{148FE86C-F7F1-464B-9BC2-28B1D508CF71}">
      <dsp:nvSpPr>
        <dsp:cNvPr id="0" name=""/>
        <dsp:cNvSpPr/>
      </dsp:nvSpPr>
      <dsp:spPr>
        <a:xfrm>
          <a:off x="0" y="1176588"/>
          <a:ext cx="3423958" cy="7623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5737" tIns="229108" rIns="265737" bIns="78232" numCol="1" spcCol="1270" anchor="t" anchorCtr="0">
          <a:noAutofit/>
        </a:bodyPr>
        <a:lstStyle/>
        <a:p>
          <a:pPr marL="57150" lvl="1" indent="-57150" algn="l" defTabSz="466725">
            <a:lnSpc>
              <a:spcPct val="90000"/>
            </a:lnSpc>
            <a:spcBef>
              <a:spcPct val="0"/>
            </a:spcBef>
            <a:spcAft>
              <a:spcPct val="15000"/>
            </a:spcAft>
            <a:buChar char="•"/>
          </a:pPr>
          <a:r>
            <a:rPr lang="en-US" sz="1050" kern="1200" dirty="0"/>
            <a:t>Blockchain-based application with a website that can be browsed using a conventional web browser without any </a:t>
          </a:r>
          <a:r>
            <a:rPr lang="en-US" sz="1050" kern="1200" dirty="0" err="1"/>
            <a:t>ADApp</a:t>
          </a:r>
          <a:r>
            <a:rPr lang="en-US" sz="1050" kern="1200" dirty="0"/>
            <a:t> plugin </a:t>
          </a:r>
        </a:p>
      </dsp:txBody>
      <dsp:txXfrm>
        <a:off x="0" y="1176588"/>
        <a:ext cx="3423958" cy="762300"/>
      </dsp:txXfrm>
    </dsp:sp>
    <dsp:sp modelId="{24969E15-89B0-DB4E-942C-ADE1E6DD72DA}">
      <dsp:nvSpPr>
        <dsp:cNvPr id="0" name=""/>
        <dsp:cNvSpPr/>
      </dsp:nvSpPr>
      <dsp:spPr>
        <a:xfrm>
          <a:off x="171197" y="1014229"/>
          <a:ext cx="2396770" cy="324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592" tIns="0" rIns="90592" bIns="0" numCol="1" spcCol="1270" anchor="ctr" anchorCtr="0">
          <a:noAutofit/>
        </a:bodyPr>
        <a:lstStyle/>
        <a:p>
          <a:pPr marL="0" lvl="0" indent="0" algn="l" defTabSz="488950">
            <a:lnSpc>
              <a:spcPct val="90000"/>
            </a:lnSpc>
            <a:spcBef>
              <a:spcPct val="0"/>
            </a:spcBef>
            <a:spcAft>
              <a:spcPct val="35000"/>
            </a:spcAft>
            <a:buNone/>
          </a:pPr>
          <a:r>
            <a:rPr lang="en-US" sz="1100" kern="1200" dirty="0"/>
            <a:t>Semi-DApp </a:t>
          </a:r>
        </a:p>
      </dsp:txBody>
      <dsp:txXfrm>
        <a:off x="187049" y="1030081"/>
        <a:ext cx="2365066" cy="293016"/>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15/4/2024</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15/4/2024</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solidity.readthedocs.io/en/v0.6.10/units-and-global-variables.html#address-related"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research.csiro.au/blockchainpatterns/general-patterns/security-patterns/off-chain-secret-enabled-dynamic-authorization/"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research.csiro.au/blockchainpatterns/general-patterns/security-patterns/security-deposit/" TargetMode="External"/><Relationship Id="rId4" Type="http://schemas.openxmlformats.org/officeDocument/2006/relationships/hyperlink" Target="https://research.csiro.au/blockchainpatterns/general-patterns/security-patterns/x-confirmation/"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ere’s a 1 sentence summary of all of those patterns.</a:t>
            </a:r>
          </a:p>
        </p:txBody>
      </p:sp>
      <p:sp>
        <p:nvSpPr>
          <p:cNvPr id="4" name="Slide Number Placeholder 3"/>
          <p:cNvSpPr>
            <a:spLocks noGrp="1"/>
          </p:cNvSpPr>
          <p:nvPr>
            <p:ph type="sldNum" sz="quarter" idx="5"/>
          </p:nvPr>
        </p:nvSpPr>
        <p:spPr/>
        <p:txBody>
          <a:bodyPr/>
          <a:lstStyle/>
          <a:p>
            <a:fld id="{9A496215-5E4C-414D-A8DB-C38AA7CF7C2A}" type="slidenum">
              <a:rPr lang="en-AU" smtClean="0"/>
              <a:pPr/>
              <a:t>11</a:t>
            </a:fld>
            <a:endParaRPr lang="en-AU" dirty="0"/>
          </a:p>
        </p:txBody>
      </p:sp>
    </p:spTree>
    <p:extLst>
      <p:ext uri="{BB962C8B-B14F-4D97-AF65-F5344CB8AC3E}">
        <p14:creationId xmlns:p14="http://schemas.microsoft.com/office/powerpoint/2010/main" val="3533161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endParaRPr lang="en-AU"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en-AU" sz="1200" b="0" i="0" u="none" strike="noStrike" kern="1200" baseline="0" dirty="0">
                <a:solidFill>
                  <a:schemeClr val="tx1"/>
                </a:solidFill>
                <a:latin typeface="+mn-lt"/>
                <a:ea typeface="+mn-ea"/>
                <a:cs typeface="+mn-cs"/>
              </a:rPr>
              <a:t>Here’s another pattern collection focusing on smart contracts.</a:t>
            </a:r>
          </a:p>
          <a:p>
            <a:pPr marL="171450" indent="-171450">
              <a:buFont typeface="Arial" panose="020B0604020202020204" pitchFamily="34" charset="0"/>
              <a:buChar char="•"/>
            </a:pPr>
            <a:r>
              <a:rPr lang="en-AU" sz="1200" b="0" i="0" u="none" strike="noStrike" kern="1200" baseline="0" dirty="0">
                <a:solidFill>
                  <a:schemeClr val="tx1"/>
                </a:solidFill>
                <a:latin typeface="+mn-lt"/>
                <a:ea typeface="+mn-ea"/>
                <a:cs typeface="+mn-cs"/>
              </a:rPr>
              <a:t>Action and Control is a group of patterns that provide mechanisms for typical operational tasks of a contract like handling payments and maintaining the internal state.</a:t>
            </a:r>
          </a:p>
          <a:p>
            <a:pPr marL="171450" indent="-171450">
              <a:buFont typeface="Arial" panose="020B0604020202020204" pitchFamily="34" charset="0"/>
              <a:buChar char="•"/>
            </a:pPr>
            <a:r>
              <a:rPr lang="en-AU" sz="1200" b="0" i="0" u="none" strike="noStrike" kern="1200" baseline="0" dirty="0">
                <a:solidFill>
                  <a:schemeClr val="tx1"/>
                </a:solidFill>
                <a:latin typeface="+mn-lt"/>
                <a:ea typeface="+mn-ea"/>
                <a:cs typeface="+mn-cs"/>
              </a:rPr>
              <a:t>Authorisation is a group of patterns that control access to smart contract functions and provide basic authorisation.</a:t>
            </a:r>
          </a:p>
          <a:p>
            <a:pPr marL="171450" indent="-171450">
              <a:buFont typeface="Arial" panose="020B0604020202020204" pitchFamily="34" charset="0"/>
              <a:buChar char="•"/>
            </a:pPr>
            <a:r>
              <a:rPr lang="en-AU" sz="1200" b="0" i="0" u="none" strike="noStrike" kern="1200" baseline="0" dirty="0">
                <a:solidFill>
                  <a:schemeClr val="tx1"/>
                </a:solidFill>
                <a:latin typeface="+mn-lt"/>
                <a:ea typeface="+mn-ea"/>
                <a:cs typeface="+mn-cs"/>
              </a:rPr>
              <a:t>A lifecycle is a group of patterns that control the creation and destruction of smart contracts.</a:t>
            </a:r>
          </a:p>
          <a:p>
            <a:pPr marL="171450" indent="-171450">
              <a:buFont typeface="Arial" panose="020B0604020202020204" pitchFamily="34" charset="0"/>
              <a:buChar char="•"/>
            </a:pPr>
            <a:r>
              <a:rPr lang="en-AU" sz="1200" b="0" i="0" u="none" strike="noStrike" kern="1200" baseline="0" dirty="0">
                <a:solidFill>
                  <a:schemeClr val="tx1"/>
                </a:solidFill>
                <a:latin typeface="+mn-lt"/>
                <a:ea typeface="+mn-ea"/>
                <a:cs typeface="+mn-cs"/>
              </a:rPr>
              <a:t>Maintenance is a group of patterns that provide mechanisms for active contracts within the limits of immutability.</a:t>
            </a:r>
          </a:p>
          <a:p>
            <a:pPr marL="171450" indent="-171450">
              <a:buFont typeface="Arial" panose="020B0604020202020204" pitchFamily="34" charset="0"/>
              <a:buChar char="•"/>
            </a:pPr>
            <a:r>
              <a:rPr lang="en-AU" sz="1200" b="0" i="0" u="none" strike="noStrike" kern="1200" baseline="0" dirty="0">
                <a:solidFill>
                  <a:schemeClr val="tx1"/>
                </a:solidFill>
                <a:latin typeface="+mn-lt"/>
                <a:ea typeface="+mn-ea"/>
                <a:cs typeface="+mn-cs"/>
              </a:rPr>
              <a:t>Then there is a bunch of security-related patterns.</a:t>
            </a:r>
          </a:p>
          <a:p>
            <a:pPr marL="171450" indent="-171450">
              <a:buFont typeface="Arial" panose="020B0604020202020204" pitchFamily="34" charset="0"/>
              <a:buChar char="•"/>
            </a:pPr>
            <a:r>
              <a:rPr lang="en-AU" sz="1200" b="0" i="0" u="none" strike="noStrike" kern="1200" baseline="0" dirty="0">
                <a:solidFill>
                  <a:schemeClr val="tx1"/>
                </a:solidFill>
                <a:latin typeface="+mn-lt"/>
                <a:ea typeface="+mn-ea"/>
                <a:cs typeface="+mn-cs"/>
              </a:rPr>
              <a:t>It is also worthwhile noting that the same pattern may be known under different names depending on who drafts them. For example,</a:t>
            </a:r>
          </a:p>
          <a:p>
            <a:pPr marL="628650" lvl="1" indent="-171450">
              <a:buFont typeface="Arial" panose="020B0604020202020204" pitchFamily="34" charset="0"/>
              <a:buChar char="•"/>
            </a:pPr>
            <a:r>
              <a:rPr lang="en-AU" sz="1200" b="0" i="0" u="none" strike="noStrike" kern="1200" baseline="0" dirty="0">
                <a:solidFill>
                  <a:schemeClr val="tx1"/>
                </a:solidFill>
                <a:latin typeface="+mn-lt"/>
                <a:ea typeface="+mn-ea"/>
                <a:cs typeface="+mn-cs"/>
              </a:rPr>
              <a:t>A data contract is also known as data segregation as it segregates data from the business logic.</a:t>
            </a:r>
          </a:p>
          <a:p>
            <a:pPr marL="628650" lvl="1" indent="-171450">
              <a:buFont typeface="Arial" panose="020B0604020202020204" pitchFamily="34" charset="0"/>
              <a:buChar char="•"/>
            </a:pPr>
            <a:r>
              <a:rPr lang="en-AU" sz="1200" b="0" i="0" u="none" strike="noStrike" kern="1200" baseline="0" dirty="0">
                <a:solidFill>
                  <a:schemeClr val="tx1"/>
                </a:solidFill>
                <a:latin typeface="+mn-lt"/>
                <a:ea typeface="+mn-ea"/>
                <a:cs typeface="+mn-cs"/>
              </a:rPr>
              <a:t>Oracle is one pattern in one collection, while in the other it is split as a centralised and decentralised oracle. So a pattern may be documented at different levels of abstraction.</a:t>
            </a:r>
          </a:p>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3</a:t>
            </a:fld>
            <a:endParaRPr lang="en-AU"/>
          </a:p>
        </p:txBody>
      </p:sp>
    </p:spTree>
    <p:extLst>
      <p:ext uri="{BB962C8B-B14F-4D97-AF65-F5344CB8AC3E}">
        <p14:creationId xmlns:p14="http://schemas.microsoft.com/office/powerpoint/2010/main" val="1026786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Here’s set of token pattern that are given in grey rectangles.</a:t>
            </a:r>
          </a:p>
          <a:p>
            <a:r>
              <a:rPr lang="en-AU" dirty="0"/>
              <a:t>Note how the patterns are presented based on the lifecycle of a token from issuing a token to eventually destroying it.</a:t>
            </a:r>
          </a:p>
        </p:txBody>
      </p:sp>
      <p:sp>
        <p:nvSpPr>
          <p:cNvPr id="4" name="Slide Number Placeholder 3"/>
          <p:cNvSpPr>
            <a:spLocks noGrp="1"/>
          </p:cNvSpPr>
          <p:nvPr>
            <p:ph type="sldNum" sz="quarter" idx="5"/>
          </p:nvPr>
        </p:nvSpPr>
        <p:spPr/>
        <p:txBody>
          <a:bodyPr/>
          <a:lstStyle/>
          <a:p>
            <a:fld id="{9A496215-5E4C-414D-A8DB-C38AA7CF7C2A}" type="slidenum">
              <a:rPr lang="en-AU" smtClean="0"/>
              <a:pPr/>
              <a:t>14</a:t>
            </a:fld>
            <a:endParaRPr lang="en-AU" dirty="0"/>
          </a:p>
        </p:txBody>
      </p:sp>
    </p:spTree>
    <p:extLst>
      <p:ext uri="{BB962C8B-B14F-4D97-AF65-F5344CB8AC3E}">
        <p14:creationId xmlns:p14="http://schemas.microsoft.com/office/powerpoint/2010/main" val="28154301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Perhaps you may have heard of the factory pattern in object-oriented programming. It is a </a:t>
            </a:r>
            <a:r>
              <a:rPr lang="en-US" sz="1200" b="0" kern="1200" dirty="0">
                <a:solidFill>
                  <a:schemeClr val="tx1"/>
                </a:solidFill>
                <a:effectLst/>
                <a:latin typeface="+mn-lt"/>
                <a:ea typeface="+mn-ea"/>
                <a:cs typeface="+mn-cs"/>
              </a:rPr>
              <a:t>d</a:t>
            </a:r>
            <a:r>
              <a:rPr lang="en-AU" b="0" i="0" dirty="0" err="1">
                <a:solidFill>
                  <a:srgbClr val="111111"/>
                </a:solidFill>
                <a:effectLst/>
                <a:latin typeface="Roboto" panose="020F0502020204030204" pitchFamily="34" charset="0"/>
              </a:rPr>
              <a:t>esign</a:t>
            </a:r>
            <a:r>
              <a:rPr lang="en-AU" b="0" i="0" dirty="0">
                <a:solidFill>
                  <a:srgbClr val="111111"/>
                </a:solidFill>
                <a:effectLst/>
                <a:latin typeface="Roboto" panose="020F0502020204030204" pitchFamily="34" charset="0"/>
              </a:rPr>
              <a:t> pattern that provides an interface for creating objects in a super class while </a:t>
            </a:r>
            <a:r>
              <a:rPr lang="en-AU" b="0" i="0" dirty="0">
                <a:solidFill>
                  <a:srgbClr val="111111"/>
                </a:solidFill>
                <a:effectLst/>
                <a:latin typeface="Roboto" panose="02000000000000000000" pitchFamily="2" charset="0"/>
              </a:rPr>
              <a:t>allowing subclasses to alter the type of objects that will be created. </a:t>
            </a:r>
          </a:p>
          <a:p>
            <a:pPr marL="171450" indent="-171450">
              <a:buFont typeface="Arial"/>
              <a:buChar char="•"/>
            </a:pPr>
            <a:r>
              <a:rPr lang="en-AU" sz="1200" b="0" i="0" kern="1200" dirty="0">
                <a:solidFill>
                  <a:srgbClr val="111111"/>
                </a:solidFill>
                <a:effectLst/>
                <a:latin typeface="Roboto" panose="02000000000000000000" pitchFamily="2" charset="0"/>
                <a:ea typeface="+mn-ea"/>
                <a:cs typeface="+mn-cs"/>
              </a:rPr>
              <a:t>The same idea can be applied to deploy, multiple smart contract instances from another contract, while changing some of their initialisation attributes. </a:t>
            </a:r>
          </a:p>
          <a:p>
            <a:pPr marL="171450" indent="-171450">
              <a:buFont typeface="Arial"/>
              <a:buChar char="•"/>
            </a:pPr>
            <a:r>
              <a:rPr lang="en-AU" sz="1200" b="0" i="0" kern="1200" dirty="0">
                <a:solidFill>
                  <a:srgbClr val="111111"/>
                </a:solidFill>
                <a:effectLst/>
                <a:latin typeface="Roboto" panose="02000000000000000000" pitchFamily="2" charset="0"/>
                <a:ea typeface="+mn-ea"/>
                <a:cs typeface="+mn-cs"/>
              </a:rPr>
              <a:t>Here we document the pattern in extended form.</a:t>
            </a:r>
          </a:p>
          <a:p>
            <a:pPr marL="171450" indent="-171450">
              <a:buFont typeface="Arial"/>
              <a:buChar char="•"/>
            </a:pPr>
            <a:endParaRPr lang="en-AU" sz="1200" b="0" i="0" kern="1200" dirty="0">
              <a:solidFill>
                <a:srgbClr val="111111"/>
              </a:solidFill>
              <a:effectLst/>
              <a:latin typeface="Roboto" panose="02000000000000000000" pitchFamily="2"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AU" sz="1200" b="0" i="0" kern="1200" dirty="0">
                <a:solidFill>
                  <a:srgbClr val="111111"/>
                </a:solidFill>
                <a:effectLst/>
                <a:latin typeface="Roboto" panose="02000000000000000000" pitchFamily="2" charset="0"/>
                <a:ea typeface="+mn-ea"/>
                <a:cs typeface="+mn-cs"/>
              </a:rPr>
              <a:t>Summary: </a:t>
            </a:r>
            <a:r>
              <a:rPr lang="en-US" sz="1200" dirty="0"/>
              <a:t>A template smart contract deployed on-chain is used as a contract factory to deploy contract instances from the template.</a:t>
            </a:r>
          </a:p>
          <a:p>
            <a:pPr marL="171450" indent="-171450">
              <a:buFont typeface="Arial"/>
              <a:buChar char="•"/>
            </a:pPr>
            <a:r>
              <a:rPr lang="en-US" sz="1200" kern="1200" dirty="0">
                <a:solidFill>
                  <a:schemeClr val="tx1"/>
                </a:solidFill>
                <a:effectLst/>
                <a:latin typeface="+mn-lt"/>
                <a:ea typeface="+mn-ea"/>
                <a:cs typeface="+mn-cs"/>
              </a:rPr>
              <a:t>Context: An application based on a blockchain needs to use multiple instances of a standard contract with </a:t>
            </a:r>
            <a:r>
              <a:rPr lang="en-US" sz="1200" kern="1200" dirty="0" err="1">
                <a:solidFill>
                  <a:schemeClr val="tx1"/>
                </a:solidFill>
                <a:effectLst/>
                <a:latin typeface="+mn-lt"/>
                <a:ea typeface="+mn-ea"/>
                <a:cs typeface="+mn-cs"/>
              </a:rPr>
              <a:t>customisation</a:t>
            </a:r>
            <a:r>
              <a:rPr lang="en-US" sz="1200" kern="1200" dirty="0">
                <a:solidFill>
                  <a:schemeClr val="tx1"/>
                </a:solidFill>
                <a:effectLst/>
                <a:latin typeface="+mn-lt"/>
                <a:ea typeface="+mn-ea"/>
                <a:cs typeface="+mn-cs"/>
              </a:rPr>
              <a:t>. </a:t>
            </a:r>
          </a:p>
          <a:p>
            <a:pPr marL="628650" lvl="1" indent="-171450">
              <a:buFont typeface="Arial"/>
              <a:buChar char="•"/>
            </a:pPr>
            <a:r>
              <a:rPr lang="en-US" sz="1200" kern="1200" dirty="0">
                <a:solidFill>
                  <a:schemeClr val="tx1"/>
                </a:solidFill>
                <a:effectLst/>
                <a:latin typeface="+mn-lt"/>
                <a:ea typeface="+mn-ea"/>
                <a:cs typeface="+mn-cs"/>
              </a:rPr>
              <a:t>Each contract instance is created by instantiating a contract template. E.g., in a business process management system, each of the business process instances might be represented by a smart contract being generated from a contract template representing the business process model. </a:t>
            </a:r>
          </a:p>
          <a:p>
            <a:pPr marL="628650" lvl="1" indent="-171450">
              <a:buFont typeface="Arial"/>
              <a:buChar char="•"/>
            </a:pPr>
            <a:r>
              <a:rPr lang="en-US" sz="1200" kern="1200" dirty="0">
                <a:solidFill>
                  <a:schemeClr val="tx1"/>
                </a:solidFill>
                <a:effectLst/>
                <a:latin typeface="+mn-lt"/>
                <a:ea typeface="+mn-ea"/>
                <a:cs typeface="+mn-cs"/>
              </a:rPr>
              <a:t>The template is stored off-chain in a code repository.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Problem: </a:t>
            </a:r>
            <a:r>
              <a:rPr lang="en-US" sz="1200" dirty="0"/>
              <a:t>How can we ensure all SC instances follow the same contract template? </a:t>
            </a:r>
            <a:r>
              <a:rPr lang="en-US" sz="1200" kern="1200" dirty="0">
                <a:solidFill>
                  <a:schemeClr val="tx1"/>
                </a:solidFill>
                <a:effectLst/>
                <a:latin typeface="+mn-lt"/>
                <a:ea typeface="+mn-ea"/>
                <a:cs typeface="+mn-cs"/>
              </a:rPr>
              <a:t>Also, Keeping the contract template off-chain cannot guarantee consistency between different smart contract instances created from the same template because the source code of the template can be independently modified.</a:t>
            </a:r>
          </a:p>
          <a:p>
            <a:pPr marL="171450" indent="-171450">
              <a:buFont typeface="Arial"/>
              <a:buChar char="•"/>
            </a:pPr>
            <a:r>
              <a:rPr lang="en-US" dirty="0"/>
              <a:t>Force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It is difficult to protect the integrity of the off-chain code. As opposed to a traditional code repository, code changes deployed on a smart contract can be strictly limited or prohibited. </a:t>
            </a:r>
          </a:p>
          <a:p>
            <a:pPr marL="628650" lvl="1" indent="-171450">
              <a:buFont typeface="Arial"/>
              <a:buChar char="•"/>
            </a:pPr>
            <a:r>
              <a:rPr lang="en-US" sz="1200" kern="1200" dirty="0">
                <a:solidFill>
                  <a:schemeClr val="tx1"/>
                </a:solidFill>
                <a:effectLst/>
                <a:latin typeface="+mn-lt"/>
                <a:ea typeface="+mn-ea"/>
                <a:cs typeface="+mn-cs"/>
              </a:rPr>
              <a:t>Dependency management. Storing the source code of smart contracts off-chain in a code repository introduces the issue of integrating more systems into the blockchain-based application. </a:t>
            </a:r>
            <a:endParaRPr lang="en-US" sz="900" kern="1200" dirty="0">
              <a:solidFill>
                <a:schemeClr val="tx1"/>
              </a:solidFill>
              <a:effectLst/>
              <a:latin typeface="+mn-lt"/>
              <a:ea typeface="+mn-ea"/>
              <a:cs typeface="+mn-cs"/>
            </a:endParaRPr>
          </a:p>
          <a:p>
            <a:pPr marL="628650" lvl="1" indent="-171450">
              <a:buFont typeface="Arial"/>
              <a:buChar char="•"/>
            </a:pPr>
            <a:r>
              <a:rPr lang="en-US" sz="1200" kern="1200" dirty="0">
                <a:solidFill>
                  <a:schemeClr val="tx1"/>
                </a:solidFill>
                <a:effectLst/>
                <a:latin typeface="+mn-lt"/>
                <a:ea typeface="+mn-ea"/>
                <a:cs typeface="+mn-cs"/>
              </a:rPr>
              <a:t>Secure code sharing. Blockchain can be used as a secure platform to share the code of smart contracts. </a:t>
            </a:r>
          </a:p>
          <a:p>
            <a:pPr marL="628650" lvl="1" indent="-171450">
              <a:buFont typeface="Arial"/>
              <a:buChar char="•"/>
            </a:pPr>
            <a:r>
              <a:rPr lang="en-US" sz="1200" kern="1200" dirty="0">
                <a:solidFill>
                  <a:schemeClr val="tx1"/>
                </a:solidFill>
                <a:effectLst/>
                <a:latin typeface="+mn-lt"/>
                <a:ea typeface="+mn-ea"/>
                <a:cs typeface="+mn-cs"/>
              </a:rPr>
              <a:t>Deployment. If a public code repository, like GitHub, is used to store the source code of a smart contract, a component is needed to implement the function of deploying a smart contract on the blockchain, otherwise, the end users need to understand how to deploy smart contracts by sending transactions with the customized source code of the contract definition. </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5</a:t>
            </a:fld>
            <a:endParaRPr lang="en-AU"/>
          </a:p>
        </p:txBody>
      </p:sp>
    </p:spTree>
    <p:extLst>
      <p:ext uri="{BB962C8B-B14F-4D97-AF65-F5344CB8AC3E}">
        <p14:creationId xmlns:p14="http://schemas.microsoft.com/office/powerpoint/2010/main" val="33102880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olution: As seen from the figure deploy a factory contract embedding the contract instances to be deployed. Then invoke a function on that contract with desired input parameters to spawn a new contract instance.</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factory contract is deployed once from the off-chain source code.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e factory may contain the definition of multiple smart contracts.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mart contract instances are generated by passing parameters to the contract factory to instantiate </a:t>
            </a:r>
            <a:r>
              <a:rPr lang="en-US" sz="1200" kern="1200" dirty="0" err="1">
                <a:solidFill>
                  <a:schemeClr val="tx1"/>
                </a:solidFill>
                <a:effectLst/>
                <a:latin typeface="+mn-lt"/>
                <a:ea typeface="+mn-ea"/>
                <a:cs typeface="+mn-cs"/>
              </a:rPr>
              <a:t>customised</a:t>
            </a:r>
            <a:r>
              <a:rPr lang="en-US" sz="1200" kern="1200" dirty="0">
                <a:solidFill>
                  <a:schemeClr val="tx1"/>
                </a:solidFill>
                <a:effectLst/>
                <a:latin typeface="+mn-lt"/>
                <a:ea typeface="+mn-ea"/>
                <a:cs typeface="+mn-cs"/>
              </a:rPr>
              <a:t> smart contract instances.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Factory contract is analogous to a class in an object-oriented programming language. Every transaction that generates a smart contract instance essentially instantiates an object of the factory contract class.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This contract instance (the object) will maintain its properties independently of the other instances but with a structure consistent with its original template. </a:t>
            </a:r>
            <a:endParaRPr lang="en-US" dirty="0"/>
          </a:p>
          <a:p>
            <a:pPr marL="171450" indent="-171450">
              <a:buFont typeface="Arial" panose="020B0604020202020204" pitchFamily="34" charset="0"/>
              <a:buChar char="•"/>
            </a:pPr>
            <a:r>
              <a:rPr lang="en-US" dirty="0"/>
              <a:t>Consequences</a:t>
            </a:r>
          </a:p>
          <a:p>
            <a:pPr marL="628650" lvl="1" indent="-171450">
              <a:buFont typeface="Arial"/>
              <a:buChar char="•"/>
            </a:pPr>
            <a:r>
              <a:rPr lang="en-US" sz="1200" kern="1200" dirty="0">
                <a:solidFill>
                  <a:schemeClr val="tx1"/>
                </a:solidFill>
                <a:effectLst/>
                <a:latin typeface="+mn-lt"/>
                <a:ea typeface="+mn-ea"/>
                <a:cs typeface="+mn-cs"/>
              </a:rPr>
              <a:t>Benefits</a:t>
            </a:r>
          </a:p>
          <a:p>
            <a:pPr marL="1085850" lvl="2" indent="-171450">
              <a:buFont typeface="Arial"/>
              <a:buChar char="•"/>
            </a:pPr>
            <a:r>
              <a:rPr lang="en-US" sz="1200" kern="1200" dirty="0">
                <a:solidFill>
                  <a:schemeClr val="tx1"/>
                </a:solidFill>
                <a:effectLst/>
                <a:latin typeface="+mn-lt"/>
                <a:ea typeface="+mn-ea"/>
                <a:cs typeface="+mn-cs"/>
              </a:rPr>
              <a:t>Security. Keeping the factory contract on-chain guarantees the consistency of the contract definition. </a:t>
            </a:r>
            <a:endParaRPr lang="en-US" sz="900" kern="1200" dirty="0">
              <a:solidFill>
                <a:schemeClr val="tx1"/>
              </a:solidFill>
              <a:effectLst/>
              <a:latin typeface="+mn-lt"/>
              <a:ea typeface="+mn-ea"/>
              <a:cs typeface="+mn-cs"/>
            </a:endParaRPr>
          </a:p>
          <a:p>
            <a:pPr marL="1085850" lvl="2" indent="-171450">
              <a:buFont typeface="Arial"/>
              <a:buChar char="•"/>
            </a:pPr>
            <a:r>
              <a:rPr lang="en-US" sz="1200" kern="1200" dirty="0">
                <a:solidFill>
                  <a:schemeClr val="tx1"/>
                </a:solidFill>
                <a:effectLst/>
                <a:latin typeface="+mn-lt"/>
                <a:ea typeface="+mn-ea"/>
                <a:cs typeface="+mn-cs"/>
              </a:rPr>
              <a:t>Efficiency. If the contract definition is kept on-chain in a factory contract, smart contract instances are generated by calling a function defined in the factory contract. </a:t>
            </a:r>
          </a:p>
          <a:p>
            <a:pPr marL="628650" lvl="1" indent="-171450">
              <a:buFont typeface="Arial"/>
              <a:buChar char="•"/>
            </a:pPr>
            <a:r>
              <a:rPr lang="en-US" sz="1200" kern="1200" dirty="0">
                <a:solidFill>
                  <a:schemeClr val="tx1"/>
                </a:solidFill>
                <a:effectLst/>
                <a:latin typeface="+mn-lt"/>
                <a:ea typeface="+mn-ea"/>
                <a:cs typeface="+mn-cs"/>
              </a:rPr>
              <a:t>Drawbacks: </a:t>
            </a:r>
            <a:endParaRPr lang="en-US" dirty="0">
              <a:effectLst/>
            </a:endParaRPr>
          </a:p>
          <a:p>
            <a:pPr marL="1085850" lvl="2" indent="-171450">
              <a:buFont typeface="Arial"/>
              <a:buChar char="•"/>
            </a:pPr>
            <a:r>
              <a:rPr lang="en-US" sz="1200" kern="1200" dirty="0">
                <a:solidFill>
                  <a:schemeClr val="tx1"/>
                </a:solidFill>
                <a:effectLst/>
                <a:latin typeface="+mn-lt"/>
                <a:ea typeface="+mn-ea"/>
                <a:cs typeface="+mn-cs"/>
              </a:rPr>
              <a:t>Deployment cost. If a public blockchain is used, using a factory contract requires the extra cost to deploy the factory contract. </a:t>
            </a:r>
            <a:endParaRPr lang="en-US" sz="900" kern="1200" dirty="0">
              <a:solidFill>
                <a:schemeClr val="tx1"/>
              </a:solidFill>
              <a:effectLst/>
              <a:latin typeface="+mn-lt"/>
              <a:ea typeface="+mn-ea"/>
              <a:cs typeface="+mn-cs"/>
            </a:endParaRPr>
          </a:p>
          <a:p>
            <a:pPr marL="1085850" lvl="2" indent="-171450">
              <a:buFont typeface="Arial"/>
              <a:buChar char="•"/>
            </a:pPr>
            <a:r>
              <a:rPr lang="en-US" sz="1200" kern="1200" dirty="0">
                <a:solidFill>
                  <a:schemeClr val="tx1"/>
                </a:solidFill>
                <a:effectLst/>
                <a:latin typeface="+mn-lt"/>
                <a:ea typeface="+mn-ea"/>
                <a:cs typeface="+mn-cs"/>
              </a:rPr>
              <a:t>Function call cost. If a public blockchain is used, creating a new smart contract instance requires the extra cost to call a function defined in the factory contract. </a:t>
            </a:r>
            <a:endParaRPr lang="en-US" dirty="0">
              <a:effectLst/>
            </a:endParaRPr>
          </a:p>
          <a:p>
            <a:pPr marL="171450" indent="-171450">
              <a:buFont typeface="Arial"/>
              <a:buChar char="•"/>
            </a:pPr>
            <a:r>
              <a:rPr lang="en-US" sz="1200" kern="1200" dirty="0">
                <a:solidFill>
                  <a:schemeClr val="tx1"/>
                </a:solidFill>
                <a:effectLst/>
                <a:latin typeface="+mn-lt"/>
                <a:ea typeface="+mn-ea"/>
                <a:cs typeface="+mn-cs"/>
              </a:rPr>
              <a:t>Related patterns – This pattern is related to another pattern called contract registry that keeps track of deployed contract names and their addresses.</a:t>
            </a:r>
          </a:p>
          <a:p>
            <a:pPr marL="171450" indent="-171450">
              <a:buFont typeface="Arial"/>
              <a:buChar char="•"/>
            </a:pPr>
            <a:r>
              <a:rPr lang="en-US" sz="1200" kern="1200" dirty="0">
                <a:solidFill>
                  <a:schemeClr val="tx1"/>
                </a:solidFill>
                <a:effectLst/>
                <a:latin typeface="+mn-lt"/>
                <a:ea typeface="+mn-ea"/>
                <a:cs typeface="+mn-cs"/>
              </a:rPr>
              <a:t>Known use</a:t>
            </a:r>
          </a:p>
          <a:p>
            <a:pPr marL="628650" lvl="1" indent="-171450">
              <a:buFont typeface="Arial"/>
              <a:buChar char="•"/>
            </a:pPr>
            <a:r>
              <a:rPr lang="en-US" sz="1200" kern="1200" dirty="0">
                <a:solidFill>
                  <a:schemeClr val="tx1"/>
                </a:solidFill>
                <a:effectLst/>
                <a:latin typeface="+mn-lt"/>
                <a:ea typeface="+mn-ea"/>
                <a:cs typeface="+mn-cs"/>
              </a:rPr>
              <a:t>A tutorial from Ethereum developers about how to create a contract factory from which smart contract instances can be created. </a:t>
            </a:r>
            <a:endParaRPr lang="en-US" sz="900" kern="1200" dirty="0">
              <a:solidFill>
                <a:schemeClr val="tx1"/>
              </a:solidFill>
              <a:effectLst/>
              <a:latin typeface="+mn-lt"/>
              <a:ea typeface="+mn-ea"/>
              <a:cs typeface="+mn-cs"/>
            </a:endParaRPr>
          </a:p>
          <a:p>
            <a:pPr marL="628650" lvl="1" indent="-171450">
              <a:buFont typeface="Arial"/>
              <a:buChar char="•"/>
            </a:pPr>
            <a:r>
              <a:rPr lang="en-US" sz="1200" kern="1200" dirty="0">
                <a:solidFill>
                  <a:schemeClr val="tx1"/>
                </a:solidFill>
                <a:effectLst/>
                <a:latin typeface="+mn-lt"/>
                <a:ea typeface="+mn-ea"/>
                <a:cs typeface="+mn-cs"/>
              </a:rPr>
              <a:t>Factory pattern has been applied in a real-world blockchain-based healthcare application. </a:t>
            </a:r>
          </a:p>
          <a:p>
            <a:pPr marL="628650" lvl="1" indent="-171450">
              <a:buFont typeface="Arial"/>
              <a:buChar char="•"/>
            </a:pPr>
            <a:r>
              <a:rPr lang="en-US" sz="1200" kern="1200" dirty="0">
                <a:solidFill>
                  <a:schemeClr val="tx1"/>
                </a:solidFill>
                <a:effectLst/>
                <a:latin typeface="+mn-lt"/>
                <a:ea typeface="+mn-ea"/>
                <a:cs typeface="+mn-cs"/>
              </a:rPr>
              <a:t>The business process management system in academic work uses a</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contract factory to generate process instances. </a:t>
            </a:r>
            <a:endParaRPr lang="en-US" dirty="0">
              <a:effectLst/>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16</a:t>
            </a:fld>
            <a:endParaRPr lang="en-AU"/>
          </a:p>
        </p:txBody>
      </p:sp>
    </p:spTree>
    <p:extLst>
      <p:ext uri="{BB962C8B-B14F-4D97-AF65-F5344CB8AC3E}">
        <p14:creationId xmlns:p14="http://schemas.microsoft.com/office/powerpoint/2010/main" val="23932465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Here’s another pattern that is related to the factory pattern.</a:t>
            </a:r>
          </a:p>
          <a:p>
            <a:pPr marL="171450" indent="-171450">
              <a:buFont typeface="Arial"/>
              <a:buChar char="•"/>
            </a:pPr>
            <a:r>
              <a:rPr lang="en-US" sz="1200" kern="1200" dirty="0">
                <a:solidFill>
                  <a:schemeClr val="tx1"/>
                </a:solidFill>
                <a:effectLst/>
                <a:latin typeface="+mn-lt"/>
                <a:ea typeface="+mn-ea"/>
                <a:cs typeface="+mn-cs"/>
              </a:rPr>
              <a:t>Summary: </a:t>
            </a:r>
            <a:r>
              <a:rPr lang="en-AU" b="0" i="0" u="none" strike="noStrike" dirty="0">
                <a:solidFill>
                  <a:srgbClr val="1D2021"/>
                </a:solidFill>
                <a:effectLst/>
                <a:latin typeface="Open Sans" panose="020B0606030504020204" pitchFamily="34" charset="0"/>
              </a:rPr>
              <a:t>Maintain a registry mapping a smart contract’s name and the address of its latest version as a </a:t>
            </a:r>
            <a:r>
              <a:rPr lang="en-AU" b="0" i="1" u="none" strike="noStrike" dirty="0">
                <a:solidFill>
                  <a:srgbClr val="1D2021"/>
                </a:solidFill>
                <a:effectLst/>
                <a:latin typeface="Open Sans" panose="020B0606030504020204" pitchFamily="34" charset="0"/>
              </a:rPr>
              <a:t>(name, address</a:t>
            </a:r>
            <a:r>
              <a:rPr lang="en-AU" b="0" i="0" u="none" strike="noStrike" dirty="0">
                <a:solidFill>
                  <a:srgbClr val="1D2021"/>
                </a:solidFill>
                <a:effectLst/>
                <a:latin typeface="Open Sans" panose="020B0606030504020204" pitchFamily="34" charset="0"/>
              </a:rPr>
              <a:t>) pair. Before invoking a smart contract, look up the registry to find its address.</a:t>
            </a:r>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Context: </a:t>
            </a:r>
            <a:r>
              <a:rPr lang="en-AU" b="0" i="0" u="none" strike="noStrike" dirty="0">
                <a:solidFill>
                  <a:srgbClr val="1D2021"/>
                </a:solidFill>
                <a:effectLst/>
                <a:latin typeface="Open Sans" panose="020B0606030504020204" pitchFamily="34" charset="0"/>
              </a:rPr>
              <a:t>Like any software application, blockchain-based applications need to be upgraded to new versions. To do so, the on-chain functions defined in smart contracts need to be updated to fix bugs and fulfil new requirements.</a:t>
            </a:r>
            <a:endParaRPr lang="en-US" sz="1200" kern="1200" dirty="0">
              <a:solidFill>
                <a:schemeClr val="tx1"/>
              </a:solidFill>
              <a:effectLst/>
              <a:latin typeface="+mn-lt"/>
              <a:ea typeface="+mn-ea"/>
              <a:cs typeface="+mn-cs"/>
            </a:endParaRPr>
          </a:p>
          <a:p>
            <a:pPr marL="171450" indent="-171450">
              <a:buFont typeface="Arial"/>
              <a:buChar char="•"/>
            </a:pPr>
            <a:r>
              <a:rPr lang="en-US" sz="1200" kern="1200" dirty="0">
                <a:solidFill>
                  <a:schemeClr val="tx1"/>
                </a:solidFill>
                <a:effectLst/>
                <a:latin typeface="+mn-lt"/>
                <a:ea typeface="+mn-ea"/>
                <a:cs typeface="+mn-cs"/>
              </a:rPr>
              <a:t>Problem: </a:t>
            </a:r>
            <a:r>
              <a:rPr lang="en-AU" b="0" i="0" u="none" strike="noStrike" dirty="0">
                <a:solidFill>
                  <a:srgbClr val="1D2021"/>
                </a:solidFill>
                <a:effectLst/>
                <a:latin typeface="Open Sans" panose="020B0606030504020204" pitchFamily="34" charset="0"/>
              </a:rPr>
              <a:t>A smart contract deployed on a blockchain cannot be upgraded because the smart contract (binary) code is stored as immutable ledger data. Therefore, when a new version of the smart contract is deployed, it will be assigned a different address. Not all transaction issuers may be aware of the existence of the new smart contract version or its address. How to reach the latest version of smart contracts?</a:t>
            </a:r>
            <a:endParaRPr lang="en-US" sz="1200" b="0" i="0" u="none" strike="noStrike" kern="1200" dirty="0">
              <a:solidFill>
                <a:schemeClr val="tx1"/>
              </a:solidFill>
              <a:effectLst/>
              <a:latin typeface="+mn-lt"/>
              <a:ea typeface="+mn-ea"/>
              <a:cs typeface="+mn-cs"/>
            </a:endParaRPr>
          </a:p>
          <a:p>
            <a:pPr marL="171450" indent="-171450">
              <a:buFont typeface="Arial"/>
              <a:buChar char="•"/>
            </a:pPr>
            <a:r>
              <a:rPr lang="en-US" dirty="0"/>
              <a:t>Forces: </a:t>
            </a:r>
            <a:r>
              <a:rPr lang="en-US" sz="1200" kern="1200" dirty="0">
                <a:solidFill>
                  <a:schemeClr val="tx1"/>
                </a:solidFill>
                <a:effectLst/>
                <a:latin typeface="+mn-lt"/>
                <a:ea typeface="+mn-ea"/>
                <a:cs typeface="+mn-cs"/>
              </a:rPr>
              <a:t>The problem requires balancing the following forces: </a:t>
            </a:r>
            <a:endParaRPr lang="en-US" dirty="0"/>
          </a:p>
          <a:p>
            <a:pPr marL="628650" lvl="1" indent="-171450">
              <a:buFont typeface="Arial"/>
              <a:buChar char="•"/>
            </a:pPr>
            <a:r>
              <a:rPr lang="en-US" sz="1200" kern="1200" dirty="0">
                <a:solidFill>
                  <a:schemeClr val="tx1"/>
                </a:solidFill>
                <a:effectLst/>
                <a:latin typeface="+mn-lt"/>
                <a:ea typeface="+mn-ea"/>
                <a:cs typeface="+mn-cs"/>
              </a:rPr>
              <a:t>Immutability. Every bit of data, including deployed smart contracts, stored on the blockchain is immutable. </a:t>
            </a:r>
            <a:endParaRPr lang="en-US" sz="900" kern="1200" dirty="0">
              <a:solidFill>
                <a:schemeClr val="tx1"/>
              </a:solidFill>
              <a:effectLst/>
              <a:latin typeface="+mn-lt"/>
              <a:ea typeface="+mn-ea"/>
              <a:cs typeface="+mn-cs"/>
            </a:endParaRPr>
          </a:p>
          <a:p>
            <a:pPr marL="628650" lvl="1" indent="-171450">
              <a:buFont typeface="Arial"/>
              <a:buChar char="•"/>
            </a:pPr>
            <a:r>
              <a:rPr lang="en-US" sz="1200" kern="1200" dirty="0">
                <a:solidFill>
                  <a:schemeClr val="tx1"/>
                </a:solidFill>
                <a:effectLst/>
                <a:latin typeface="+mn-lt"/>
                <a:ea typeface="+mn-ea"/>
                <a:cs typeface="+mn-cs"/>
              </a:rPr>
              <a:t>Upgradability. There is a fundamental need to upgrade all but short-lived applications and their smart contracts over time. </a:t>
            </a:r>
            <a:endParaRPr lang="en-US" sz="900" kern="1200" dirty="0">
              <a:solidFill>
                <a:schemeClr val="tx1"/>
              </a:solidFill>
              <a:effectLst/>
              <a:latin typeface="+mn-lt"/>
              <a:ea typeface="+mn-ea"/>
              <a:cs typeface="+mn-cs"/>
            </a:endParaRPr>
          </a:p>
          <a:p>
            <a:pPr marL="628650" lvl="1" indent="-171450">
              <a:buFont typeface="Arial"/>
              <a:buChar char="•"/>
            </a:pPr>
            <a:r>
              <a:rPr lang="en-US" sz="1200" kern="1200" dirty="0">
                <a:solidFill>
                  <a:schemeClr val="tx1"/>
                </a:solidFill>
                <a:effectLst/>
                <a:latin typeface="+mn-lt"/>
                <a:ea typeface="+mn-ea"/>
                <a:cs typeface="+mn-cs"/>
              </a:rPr>
              <a:t>Human-readable contract identifier. The identifier of a smart contract on blockchain platforms, like Ethereum, is a hexadecimal address, which is not human-readable. </a:t>
            </a:r>
            <a:endParaRPr lang="en-US" dirty="0">
              <a:effectLst/>
            </a:endParaRPr>
          </a:p>
          <a:p>
            <a:pPr marL="171450" indent="-171450">
              <a:buFont typeface="Arial" panose="020B0604020202020204" pitchFamily="34" charset="0"/>
              <a:buChar char="•"/>
            </a:pPr>
            <a:r>
              <a:rPr lang="en-US" dirty="0"/>
              <a:t>The figure illustrates the idea of having a registry of smart contracts. The registry keeps track of the (name, address) pair. Then before invoking a smart contract, the user needs to query the registry contract to find the address of the latest smart contract instance. When a smart contract is upgraded by deploying a new instance, the address on the registry is updated to the point of the new instance.</a:t>
            </a:r>
          </a:p>
        </p:txBody>
      </p:sp>
      <p:sp>
        <p:nvSpPr>
          <p:cNvPr id="4" name="Slide Number Placeholder 3"/>
          <p:cNvSpPr>
            <a:spLocks noGrp="1"/>
          </p:cNvSpPr>
          <p:nvPr>
            <p:ph type="sldNum" sz="quarter" idx="10"/>
          </p:nvPr>
        </p:nvSpPr>
        <p:spPr/>
        <p:txBody>
          <a:bodyPr/>
          <a:lstStyle/>
          <a:p>
            <a:fld id="{001C9F81-DB2C-42C9-B6F6-C5F374D31FE4}" type="slidenum">
              <a:rPr lang="en-AU" smtClean="0"/>
              <a:t>17</a:t>
            </a:fld>
            <a:endParaRPr lang="en-AU"/>
          </a:p>
        </p:txBody>
      </p:sp>
    </p:spTree>
    <p:extLst>
      <p:ext uri="{BB962C8B-B14F-4D97-AF65-F5344CB8AC3E}">
        <p14:creationId xmlns:p14="http://schemas.microsoft.com/office/powerpoint/2010/main" val="14010331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a:solidFill>
                  <a:schemeClr val="tx1"/>
                </a:solidFill>
                <a:effectLst/>
                <a:latin typeface="+mn-lt"/>
                <a:ea typeface="+mn-ea"/>
                <a:cs typeface="+mn-cs"/>
              </a:rPr>
              <a:t>Solution: An on-chain registry contract is used to maintain a mapping between user-defined symbolic names and the blockchain addresses of the registered contracts. </a:t>
            </a:r>
          </a:p>
          <a:p>
            <a:pPr marL="628650" lvl="1" indent="-171450">
              <a:buFont typeface="Arial"/>
              <a:buChar char="•"/>
            </a:pPr>
            <a:r>
              <a:rPr lang="en-US" sz="1200" kern="1200" dirty="0">
                <a:solidFill>
                  <a:schemeClr val="tx1"/>
                </a:solidFill>
                <a:effectLst/>
                <a:latin typeface="+mn-lt"/>
                <a:ea typeface="+mn-ea"/>
                <a:cs typeface="+mn-cs"/>
              </a:rPr>
              <a:t>The address of the registry contract needs to be advertised off-chain. The creator of a contract can register the name and the address of the new contract to the registry contract after the new contract is deployed. </a:t>
            </a:r>
          </a:p>
          <a:p>
            <a:pPr marL="628650" lvl="1" indent="-171450">
              <a:buFont typeface="Arial"/>
              <a:buChar char="•"/>
            </a:pPr>
            <a:r>
              <a:rPr lang="en-US" sz="1200" kern="1200" dirty="0">
                <a:solidFill>
                  <a:schemeClr val="tx1"/>
                </a:solidFill>
                <a:effectLst/>
                <a:latin typeface="+mn-lt"/>
                <a:ea typeface="+mn-ea"/>
                <a:cs typeface="+mn-cs"/>
              </a:rPr>
              <a:t>The invoker of a registered contract retrieves the latest version of the new smart contract from the registry contract. </a:t>
            </a:r>
          </a:p>
          <a:p>
            <a:pPr marL="628650" lvl="1" indent="-171450">
              <a:buFont typeface="Arial"/>
              <a:buChar char="•"/>
            </a:pPr>
            <a:r>
              <a:rPr lang="en-US" sz="1200" kern="1200" dirty="0">
                <a:solidFill>
                  <a:schemeClr val="tx1"/>
                </a:solidFill>
                <a:effectLst/>
                <a:latin typeface="+mn-lt"/>
                <a:ea typeface="+mn-ea"/>
                <a:cs typeface="+mn-cs"/>
              </a:rPr>
              <a:t>The corresponding functions provided by the registered contract can be upgraded by replacing the address of the old version contract in the registry contract with the address of a new version without breaking the dependency between the upgraded smart contract and other smart contracts that depend on its functions. </a:t>
            </a:r>
          </a:p>
          <a:p>
            <a:pPr marL="628650" lvl="1" indent="-171450">
              <a:buFont typeface="Arial"/>
              <a:buChar char="•"/>
            </a:pPr>
            <a:r>
              <a:rPr lang="en-US" sz="1200" kern="1200" dirty="0">
                <a:solidFill>
                  <a:schemeClr val="tx1"/>
                </a:solidFill>
                <a:effectLst/>
                <a:latin typeface="+mn-lt"/>
                <a:ea typeface="+mn-ea"/>
                <a:cs typeface="+mn-cs"/>
              </a:rPr>
              <a:t>The address of a contract is stored as a variable in the registry contract. The value of contract variables can be updated. The registry contract can have a permission control module to maintain the writing permission. Note that all the previous values of the variable are still stored on the blockchain. </a:t>
            </a:r>
            <a:endParaRPr lang="en-US" dirty="0">
              <a:effectLst/>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Consequences:</a:t>
            </a:r>
          </a:p>
          <a:p>
            <a:pPr marL="628650" lvl="1" indent="-171450">
              <a:buFont typeface="Arial"/>
              <a:buChar char="•"/>
            </a:pPr>
            <a:r>
              <a:rPr lang="en-US" sz="1200" kern="1200" dirty="0">
                <a:solidFill>
                  <a:schemeClr val="tx1"/>
                </a:solidFill>
                <a:effectLst/>
                <a:latin typeface="+mn-lt"/>
                <a:ea typeface="+mn-ea"/>
                <a:cs typeface="+mn-cs"/>
              </a:rPr>
              <a:t>Benefits</a:t>
            </a:r>
          </a:p>
          <a:p>
            <a:pPr marL="1085850" lvl="2" indent="-171450">
              <a:buFont typeface="Arial"/>
              <a:buChar char="•"/>
            </a:pPr>
            <a:r>
              <a:rPr lang="en-US" sz="1200" kern="1200" dirty="0">
                <a:solidFill>
                  <a:schemeClr val="tx1"/>
                </a:solidFill>
                <a:effectLst/>
                <a:latin typeface="+mn-lt"/>
                <a:ea typeface="+mn-ea"/>
                <a:cs typeface="+mn-cs"/>
              </a:rPr>
              <a:t>Human-readable contract name. The registry contract maintains a mapping between human-readable names and the hexadecimal addresses of the smart contracts. </a:t>
            </a:r>
          </a:p>
          <a:p>
            <a:pPr marL="1085850" lvl="2" indent="-171450">
              <a:buFont typeface="Arial"/>
              <a:buChar char="•"/>
            </a:pPr>
            <a:r>
              <a:rPr lang="en-US" sz="1200" kern="1200" dirty="0">
                <a:solidFill>
                  <a:schemeClr val="tx1"/>
                </a:solidFill>
                <a:effectLst/>
                <a:latin typeface="+mn-lt"/>
                <a:ea typeface="+mn-ea"/>
                <a:cs typeface="+mn-cs"/>
              </a:rPr>
              <a:t>A human-readable form of smart contract names is desired, for example, to be exposed to the user interface. A human-readable name is also useful for developers. </a:t>
            </a:r>
            <a:endParaRPr lang="en-US" sz="900" kern="1200" dirty="0">
              <a:solidFill>
                <a:schemeClr val="tx1"/>
              </a:solidFill>
              <a:effectLst/>
              <a:latin typeface="+mn-lt"/>
              <a:ea typeface="+mn-ea"/>
              <a:cs typeface="+mn-cs"/>
            </a:endParaRPr>
          </a:p>
          <a:p>
            <a:pPr marL="1085850" lvl="2" indent="-171450">
              <a:buFont typeface="Arial"/>
              <a:buChar char="•"/>
            </a:pPr>
            <a:r>
              <a:rPr lang="en-US" sz="1200" kern="1200" dirty="0">
                <a:solidFill>
                  <a:schemeClr val="tx1"/>
                </a:solidFill>
                <a:effectLst/>
                <a:latin typeface="+mn-lt"/>
                <a:ea typeface="+mn-ea"/>
                <a:cs typeface="+mn-cs"/>
              </a:rPr>
              <a:t>Constant contract name. The smart contract associated with a registered name can be updated without changing its name. This way dependencies relying on the name of the smart contract do not get broken. </a:t>
            </a:r>
            <a:endParaRPr lang="en-US" sz="900" kern="1200" dirty="0">
              <a:solidFill>
                <a:schemeClr val="tx1"/>
              </a:solidFill>
              <a:effectLst/>
              <a:latin typeface="+mn-lt"/>
              <a:ea typeface="+mn-ea"/>
              <a:cs typeface="+mn-cs"/>
            </a:endParaRPr>
          </a:p>
          <a:p>
            <a:pPr marL="1085850" lvl="2" indent="-171450">
              <a:buFont typeface="Arial"/>
              <a:buChar char="•"/>
            </a:pPr>
            <a:r>
              <a:rPr lang="en-US" sz="1200" kern="1200" dirty="0">
                <a:solidFill>
                  <a:schemeClr val="tx1"/>
                </a:solidFill>
                <a:effectLst/>
                <a:latin typeface="+mn-lt"/>
                <a:ea typeface="+mn-ea"/>
                <a:cs typeface="+mn-cs"/>
              </a:rPr>
              <a:t>Transparent upgradability. The smart contract associated with a registered name could be replaced by a new version without breaking the dependencies based on the human-readable name. </a:t>
            </a:r>
            <a:endParaRPr lang="en-US" sz="900" kern="1200" dirty="0">
              <a:solidFill>
                <a:schemeClr val="tx1"/>
              </a:solidFill>
              <a:effectLst/>
              <a:latin typeface="+mn-lt"/>
              <a:ea typeface="+mn-ea"/>
              <a:cs typeface="+mn-cs"/>
            </a:endParaRPr>
          </a:p>
          <a:p>
            <a:pPr marL="1085850" lvl="2" indent="-171450">
              <a:buFont typeface="Arial" panose="020B0604020202020204" pitchFamily="34" charset="0"/>
              <a:buChar char="•"/>
            </a:pPr>
            <a:r>
              <a:rPr lang="en-US" sz="1200" kern="1200" dirty="0">
                <a:solidFill>
                  <a:schemeClr val="tx1"/>
                </a:solidFill>
                <a:effectLst/>
                <a:latin typeface="+mn-lt"/>
                <a:ea typeface="+mn-ea"/>
                <a:cs typeface="+mn-cs"/>
              </a:rPr>
              <a:t>Version control. Version control can be integrated into the registry contract as well to allow a lookup based on the name and version of a smart contract. Old versions of a smart contract that are no longer needed should be terminated.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Drawbacks: </a:t>
            </a:r>
          </a:p>
          <a:p>
            <a:pPr marL="1085850" lvl="2" indent="-171450">
              <a:buFont typeface="Arial"/>
              <a:buChar char="•"/>
            </a:pPr>
            <a:r>
              <a:rPr lang="en-US" sz="1200" kern="1200" dirty="0">
                <a:solidFill>
                  <a:schemeClr val="tx1"/>
                </a:solidFill>
                <a:effectLst/>
                <a:latin typeface="+mn-lt"/>
                <a:ea typeface="+mn-ea"/>
                <a:cs typeface="+mn-cs"/>
              </a:rPr>
              <a:t>Limited upgradability. Upgradability is still limited if the functions defined in the smart contract are called by other contracts. Although the implementation of the function can be upgraded, the interface (that is function signature) cannot be modified without breaking the link to dependent smart contracts. </a:t>
            </a:r>
          </a:p>
          <a:p>
            <a:pPr marL="1085850" lvl="2" indent="-171450">
              <a:buFont typeface="Arial"/>
              <a:buChar char="•"/>
            </a:pPr>
            <a:r>
              <a:rPr lang="en-US" sz="1200" kern="1200" dirty="0">
                <a:solidFill>
                  <a:schemeClr val="tx1"/>
                </a:solidFill>
                <a:effectLst/>
                <a:latin typeface="+mn-lt"/>
                <a:ea typeface="+mn-ea"/>
                <a:cs typeface="+mn-cs"/>
              </a:rPr>
              <a:t>Similar methods for API / service interface management need to be implemented, e.g. through versioning and depreciation flags. </a:t>
            </a:r>
            <a:endParaRPr lang="en-US" dirty="0"/>
          </a:p>
          <a:p>
            <a:pPr marL="1085850" lvl="2" indent="-171450">
              <a:buFont typeface="Arial"/>
              <a:buChar char="•"/>
            </a:pPr>
            <a:r>
              <a:rPr lang="en-US" sz="1200" kern="1200" dirty="0">
                <a:solidFill>
                  <a:schemeClr val="tx1"/>
                </a:solidFill>
                <a:effectLst/>
                <a:latin typeface="+mn-lt"/>
                <a:ea typeface="+mn-ea"/>
                <a:cs typeface="+mn-cs"/>
              </a:rPr>
              <a:t>Cost. There is an additional cost to maintain a registry that contains the mapping between the contract names and their addresses. </a:t>
            </a:r>
          </a:p>
          <a:p>
            <a:pPr marL="1085850" lvl="2" indent="-171450">
              <a:buFont typeface="Arial"/>
              <a:buChar char="•"/>
            </a:pPr>
            <a:r>
              <a:rPr lang="en-US" sz="1200" kern="1200" dirty="0">
                <a:solidFill>
                  <a:schemeClr val="tx1"/>
                </a:solidFill>
                <a:effectLst/>
                <a:latin typeface="+mn-lt"/>
                <a:ea typeface="+mn-ea"/>
                <a:cs typeface="+mn-cs"/>
              </a:rPr>
              <a:t>Furthermore, all the inter-contract function calls require a registry lookup to find the latest version of the smart contract to be invoked. </a:t>
            </a:r>
            <a:endParaRPr lang="en-US"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Related patter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 data contract pattern is used to separate data from business logic. That pattern can use the contract registry pattern to keep track of the logic contract addre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mbedded permissions patterns provide a mechanism to define permissions to update addresses maintained by the registry.</a:t>
            </a:r>
          </a:p>
          <a:p>
            <a:pPr marL="171450" indent="-171450">
              <a:buFont typeface="Arial"/>
              <a:buChar char="•"/>
            </a:pPr>
            <a:r>
              <a:rPr lang="en-US" sz="1200" kern="1200" dirty="0">
                <a:solidFill>
                  <a:schemeClr val="tx1"/>
                </a:solidFill>
                <a:effectLst/>
                <a:latin typeface="+mn-lt"/>
                <a:ea typeface="+mn-ea"/>
                <a:cs typeface="+mn-cs"/>
              </a:rPr>
              <a:t>Known use</a:t>
            </a:r>
          </a:p>
          <a:p>
            <a:pPr marL="628650" lvl="1" indent="-171450">
              <a:buFont typeface="Arial"/>
              <a:buChar char="•"/>
            </a:pPr>
            <a:r>
              <a:rPr lang="en-US" sz="1200" kern="1200" dirty="0">
                <a:solidFill>
                  <a:schemeClr val="tx1"/>
                </a:solidFill>
                <a:effectLst/>
                <a:latin typeface="+mn-lt"/>
                <a:ea typeface="+mn-ea"/>
                <a:cs typeface="+mn-cs"/>
              </a:rPr>
              <a:t>ENS is a name service on the Ethereum blockchain, which is implemented as a smart contract. </a:t>
            </a:r>
          </a:p>
          <a:p>
            <a:pPr marL="628650" lvl="1" indent="-171450">
              <a:buFont typeface="Arial"/>
              <a:buChar char="•"/>
            </a:pPr>
            <a:r>
              <a:rPr lang="en-US" sz="1200" kern="1200" dirty="0">
                <a:solidFill>
                  <a:schemeClr val="tx1"/>
                </a:solidFill>
                <a:effectLst/>
                <a:latin typeface="+mn-lt"/>
                <a:ea typeface="+mn-ea"/>
                <a:cs typeface="+mn-cs"/>
              </a:rPr>
              <a:t>ENS maintains a mapping between both smart contracts on-chain and resources off-chain and simple, human-readable names. </a:t>
            </a:r>
          </a:p>
          <a:p>
            <a:pPr marL="628650" lvl="1" indent="-171450">
              <a:buFont typeface="Arial"/>
              <a:buChar char="•"/>
            </a:pPr>
            <a:r>
              <a:rPr lang="en-US" sz="1200" kern="1200" dirty="0">
                <a:solidFill>
                  <a:schemeClr val="tx1"/>
                </a:solidFill>
                <a:effectLst/>
                <a:latin typeface="+mn-lt"/>
                <a:ea typeface="+mn-ea"/>
                <a:cs typeface="+mn-cs"/>
              </a:rPr>
              <a:t>ENS can be viewed as a contract registry built in a blockchain platform, which is accessible to everyone. A blockchain-based application can also maintain a separate registry contract for the application. </a:t>
            </a:r>
            <a:endParaRPr lang="en-US" sz="900" kern="1200" dirty="0">
              <a:solidFill>
                <a:schemeClr val="tx1"/>
              </a:solidFill>
              <a:effectLst/>
              <a:latin typeface="+mn-lt"/>
              <a:ea typeface="+mn-ea"/>
              <a:cs typeface="+mn-cs"/>
            </a:endParaRPr>
          </a:p>
          <a:p>
            <a:pPr marL="628650" lvl="1" indent="-171450">
              <a:buFont typeface="Arial"/>
              <a:buChar char="•"/>
            </a:pPr>
            <a:r>
              <a:rPr lang="en-US" sz="1200" kern="1200" dirty="0">
                <a:solidFill>
                  <a:schemeClr val="tx1"/>
                </a:solidFill>
                <a:effectLst/>
                <a:latin typeface="+mn-lt"/>
                <a:ea typeface="+mn-ea"/>
                <a:cs typeface="+mn-cs"/>
              </a:rPr>
              <a:t>Regis is an in-browser application that makes it easy to build, deploy and manage registries as smart contracts on the Ethereum blockchain. It allows user-defined key-value pairs. It can be used to create a contract registry. </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8</a:t>
            </a:fld>
            <a:endParaRPr lang="en-AU"/>
          </a:p>
        </p:txBody>
      </p:sp>
    </p:spTree>
    <p:extLst>
      <p:ext uri="{BB962C8B-B14F-4D97-AF65-F5344CB8AC3E}">
        <p14:creationId xmlns:p14="http://schemas.microsoft.com/office/powerpoint/2010/main" val="31805414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indent="-171450">
              <a:buFont typeface="Arial"/>
              <a:buChar char="•"/>
            </a:pPr>
            <a:r>
              <a:rPr lang="en-US" dirty="0"/>
              <a:t>This diagram illustrated how a set of patterns are related to each other. Such information is important in understanding related and alternative patterns .</a:t>
            </a:r>
          </a:p>
          <a:p>
            <a:pPr marL="171450" indent="-171450">
              <a:buFont typeface="Arial"/>
              <a:buChar char="•"/>
            </a:pPr>
            <a:r>
              <a:rPr lang="en-US" dirty="0"/>
              <a:t>Contract registry provides a registry for smart contract.</a:t>
            </a:r>
          </a:p>
          <a:p>
            <a:pPr marL="171450" indent="-171450">
              <a:buFont typeface="Arial"/>
              <a:buChar char="•"/>
            </a:pPr>
            <a:r>
              <a:rPr lang="en-US" dirty="0"/>
              <a:t>Factory contract create</a:t>
            </a:r>
            <a:r>
              <a:rPr lang="en-US" baseline="0" dirty="0"/>
              <a:t> a new contract instance, and registers the new instance to the contract registry.</a:t>
            </a:r>
          </a:p>
          <a:p>
            <a:pPr marL="171450" indent="-171450">
              <a:buFont typeface="Arial"/>
              <a:buChar char="•"/>
            </a:pPr>
            <a:r>
              <a:rPr lang="en-US" baseline="0" dirty="0"/>
              <a:t>Embedded permission add permission to contract registry.</a:t>
            </a:r>
          </a:p>
          <a:p>
            <a:pPr marL="171450" indent="-171450">
              <a:buFont typeface="Arial"/>
              <a:buChar char="•"/>
            </a:pPr>
            <a:r>
              <a:rPr lang="en-US" baseline="0" dirty="0"/>
              <a:t>Data contract works with the created smart contract to improve upgradability.</a:t>
            </a:r>
          </a:p>
          <a:p>
            <a:pPr marL="171450" indent="-171450">
              <a:buFont typeface="Arial"/>
              <a:buChar char="•"/>
            </a:pPr>
            <a:r>
              <a:rPr lang="en-US" baseline="0" dirty="0"/>
              <a:t>Multiple </a:t>
            </a:r>
            <a:r>
              <a:rPr lang="en-US" baseline="0" dirty="0" err="1"/>
              <a:t>authorisation</a:t>
            </a:r>
            <a:r>
              <a:rPr lang="en-US" baseline="0" dirty="0"/>
              <a:t> and dynamic authorization can support the permission control.</a:t>
            </a: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19</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Let us look at another contract that provides an alternative solution to the contract registry pattern.</a:t>
            </a:r>
          </a:p>
          <a:p>
            <a:pPr marL="171450" indent="-171450">
              <a:buFont typeface="Arial" panose="020B0604020202020204" pitchFamily="34" charset="0"/>
              <a:buChar char="•"/>
            </a:pPr>
            <a:r>
              <a:rPr lang="en-US" dirty="0"/>
              <a:t>This patterns belongs to the smart contract maintenance patterns group.</a:t>
            </a:r>
          </a:p>
          <a:p>
            <a:pPr marL="171450" indent="-171450">
              <a:buFont typeface="Arial" panose="020B0604020202020204" pitchFamily="34" charset="0"/>
              <a:buChar char="•"/>
            </a:pPr>
            <a:r>
              <a:rPr lang="en-US" dirty="0"/>
              <a:t>It is used to relay a smart contract call to the latest version of the contract.</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0</a:t>
            </a:fld>
            <a:endParaRPr lang="en-AU"/>
          </a:p>
        </p:txBody>
      </p:sp>
    </p:spTree>
    <p:extLst>
      <p:ext uri="{BB962C8B-B14F-4D97-AF65-F5344CB8AC3E}">
        <p14:creationId xmlns:p14="http://schemas.microsoft.com/office/powerpoint/2010/main" val="20136922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err="1"/>
              <a:t>onlyOwner</a:t>
            </a:r>
            <a:r>
              <a:rPr lang="en-AU" dirty="0"/>
              <a:t> modifier is inherited from Owned contract</a:t>
            </a:r>
          </a:p>
          <a:p>
            <a:r>
              <a:rPr lang="en-AU" dirty="0"/>
              <a:t>Fallback function is like default in switch-case statements</a:t>
            </a:r>
          </a:p>
          <a:p>
            <a:r>
              <a:rPr lang="en-AU" dirty="0"/>
              <a:t>What’s the difference between Registry Contract &amp; Contract Relay?</a:t>
            </a:r>
          </a:p>
        </p:txBody>
      </p:sp>
      <p:sp>
        <p:nvSpPr>
          <p:cNvPr id="4" name="Slide Number Placeholder 3"/>
          <p:cNvSpPr>
            <a:spLocks noGrp="1"/>
          </p:cNvSpPr>
          <p:nvPr>
            <p:ph type="sldNum" sz="quarter" idx="5"/>
          </p:nvPr>
        </p:nvSpPr>
        <p:spPr/>
        <p:txBody>
          <a:bodyPr/>
          <a:lstStyle/>
          <a:p>
            <a:fld id="{9A496215-5E4C-414D-A8DB-C38AA7CF7C2A}" type="slidenum">
              <a:rPr lang="en-AU" smtClean="0"/>
              <a:pPr/>
              <a:t>21</a:t>
            </a:fld>
            <a:endParaRPr lang="en-AU"/>
          </a:p>
        </p:txBody>
      </p:sp>
    </p:spTree>
    <p:extLst>
      <p:ext uri="{BB962C8B-B14F-4D97-AF65-F5344CB8AC3E}">
        <p14:creationId xmlns:p14="http://schemas.microsoft.com/office/powerpoint/2010/main" val="95078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We start with a discussion on smart contracts and their relationship (or lack of relationship) with legal contracts.</a:t>
            </a:r>
          </a:p>
          <a:p>
            <a:pPr marL="171450" indent="-171450">
              <a:buFont typeface="Arial" panose="020B0604020202020204" pitchFamily="34" charset="0"/>
              <a:buChar char="•"/>
            </a:pPr>
            <a:r>
              <a:rPr lang="en-AU" dirty="0"/>
              <a:t>Next, we’ll have a very high-level discussion about tokens.</a:t>
            </a:r>
          </a:p>
          <a:p>
            <a:pPr marL="171450" indent="-171450">
              <a:buFont typeface="Arial" panose="020B0604020202020204" pitchFamily="34" charset="0"/>
              <a:buChar char="•"/>
            </a:pPr>
            <a:r>
              <a:rPr lang="en-AU" dirty="0"/>
              <a:t>Finally, we’ll discuss oracles that enable a blockchain/smart contract to interact with off-chain components of a software system.</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a:t>
            </a:fld>
            <a:endParaRPr lang="en-AU" dirty="0"/>
          </a:p>
        </p:txBody>
      </p:sp>
    </p:spTree>
    <p:extLst>
      <p:ext uri="{BB962C8B-B14F-4D97-AF65-F5344CB8AC3E}">
        <p14:creationId xmlns:p14="http://schemas.microsoft.com/office/powerpoint/2010/main" val="12922720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200" b="0" i="0" u="none" strike="noStrike" kern="1200" baseline="0" dirty="0">
                <a:solidFill>
                  <a:schemeClr val="tx1"/>
                </a:solidFill>
                <a:latin typeface="+mn-lt"/>
                <a:ea typeface="+mn-ea"/>
                <a:cs typeface="+mn-cs"/>
              </a:rPr>
              <a:t>This pattern promotes the idea of getting a recipient to pull cryptocurrency than pushing it as it could lead to a couple of issues such as either the recipient leading to a deadlock or may be able to withdraw more crypto than they are supposed to.</a:t>
            </a:r>
          </a:p>
          <a:p>
            <a:pPr marL="171450" indent="-171450">
              <a:buFont typeface="Arial" panose="020B0604020202020204" pitchFamily="34" charset="0"/>
              <a:buChar char="•"/>
            </a:pPr>
            <a:r>
              <a:rPr lang="en-AU" sz="1200" b="0" i="0" u="none" strike="noStrike" kern="1200" baseline="0" dirty="0">
                <a:solidFill>
                  <a:schemeClr val="tx1"/>
                </a:solidFill>
                <a:latin typeface="+mn-lt"/>
                <a:ea typeface="+mn-ea"/>
                <a:cs typeface="+mn-cs"/>
              </a:rPr>
              <a:t>If the payment recipient is a SC, calling theses methods triggers execution of a so-called fallback function in the receiver.</a:t>
            </a:r>
          </a:p>
          <a:p>
            <a:pPr marL="628650" lvl="1" indent="-171450">
              <a:buFont typeface="Arial" panose="020B0604020202020204" pitchFamily="34" charset="0"/>
              <a:buChar char="•"/>
            </a:pPr>
            <a:r>
              <a:rPr lang="en-AU" sz="1200" b="0" i="0" u="none" strike="noStrike" kern="1200" baseline="0" dirty="0">
                <a:solidFill>
                  <a:schemeClr val="tx1"/>
                </a:solidFill>
                <a:latin typeface="+mn-lt"/>
                <a:ea typeface="+mn-ea"/>
                <a:cs typeface="+mn-cs"/>
              </a:rPr>
              <a:t>Fallback function is a name and </a:t>
            </a:r>
            <a:r>
              <a:rPr lang="en-AU" sz="1200" b="0" i="0" u="none" strike="noStrike" kern="1200" baseline="0" dirty="0" err="1">
                <a:solidFill>
                  <a:schemeClr val="tx1"/>
                </a:solidFill>
                <a:latin typeface="+mn-lt"/>
                <a:ea typeface="+mn-ea"/>
                <a:cs typeface="+mn-cs"/>
              </a:rPr>
              <a:t>parameterless</a:t>
            </a:r>
            <a:r>
              <a:rPr lang="en-AU" sz="1200" b="0" i="0" u="none" strike="noStrike" kern="1200" baseline="0" dirty="0">
                <a:solidFill>
                  <a:schemeClr val="tx1"/>
                </a:solidFill>
                <a:latin typeface="+mn-lt"/>
                <a:ea typeface="+mn-ea"/>
                <a:cs typeface="+mn-cs"/>
              </a:rPr>
              <a:t> function, that is called when the function signature doesn’t match any of the available functions in a Solidity contract.</a:t>
            </a:r>
          </a:p>
          <a:p>
            <a:pPr marL="628650" lvl="1" indent="-171450">
              <a:buFont typeface="Arial" panose="020B0604020202020204" pitchFamily="34" charset="0"/>
              <a:buChar char="•"/>
            </a:pPr>
            <a:r>
              <a:rPr lang="en-AU" sz="1200" b="0" i="0" u="none" strike="noStrike" kern="1200" baseline="0" dirty="0">
                <a:solidFill>
                  <a:schemeClr val="tx1"/>
                </a:solidFill>
                <a:latin typeface="+mn-lt"/>
                <a:ea typeface="+mn-ea"/>
                <a:cs typeface="+mn-cs"/>
              </a:rPr>
              <a:t>This can be exploited to call the called contract bac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solidFill>
                  <a:srgbClr val="000000"/>
                </a:solidFill>
              </a:rPr>
              <a:t>When a </a:t>
            </a:r>
            <a:r>
              <a:rPr lang="en-US" sz="1200" dirty="0">
                <a:solidFill>
                  <a:srgbClr val="000000"/>
                </a:solidFill>
              </a:rPr>
              <a:t>smart contract</a:t>
            </a:r>
            <a:r>
              <a:rPr lang="en-US" sz="1200" dirty="0"/>
              <a:t> wants to transfer funds to another address there are a couple of options:</a:t>
            </a:r>
          </a:p>
          <a:p>
            <a:pPr marL="628650" lvl="1" indent="-171450">
              <a:buFont typeface="Arial" panose="020B0604020202020204" pitchFamily="34" charset="0"/>
              <a:buChar char="•"/>
            </a:pPr>
            <a:r>
              <a:rPr lang="en-AU" sz="1200" dirty="0" err="1">
                <a:solidFill>
                  <a:srgbClr val="000000"/>
                </a:solidFill>
              </a:rPr>
              <a:t>address.send</a:t>
            </a:r>
            <a:r>
              <a:rPr lang="en-AU" sz="1200" dirty="0">
                <a:solidFill>
                  <a:srgbClr val="000000"/>
                </a:solidFill>
              </a:rPr>
              <a:t> send only false when failed</a:t>
            </a:r>
          </a:p>
          <a:p>
            <a:pPr marL="628650" lvl="1" indent="-171450">
              <a:buFont typeface="Arial" panose="020B0604020202020204" pitchFamily="34" charset="0"/>
              <a:buChar char="•"/>
            </a:pPr>
            <a:r>
              <a:rPr lang="en-AU" sz="1200" dirty="0" err="1">
                <a:solidFill>
                  <a:srgbClr val="000000"/>
                </a:solidFill>
              </a:rPr>
              <a:t>address.transfer</a:t>
            </a:r>
            <a:r>
              <a:rPr lang="en-AU" sz="1200" dirty="0">
                <a:solidFill>
                  <a:srgbClr val="000000"/>
                </a:solidFill>
              </a:rPr>
              <a:t> throw an exception when faile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err="1">
                <a:solidFill>
                  <a:srgbClr val="000000"/>
                </a:solidFill>
              </a:rPr>
              <a:t>address.call.value</a:t>
            </a:r>
            <a:r>
              <a:rPr lang="en-AU" sz="1200" dirty="0">
                <a:solidFill>
                  <a:srgbClr val="000000"/>
                </a:solidFill>
              </a:rPr>
              <a:t> send only false when failed. But can set a max gas limit</a:t>
            </a:r>
          </a:p>
          <a:p>
            <a:pPr marL="628650" lvl="1" indent="-171450">
              <a:buFont typeface="Arial" panose="020B0604020202020204" pitchFamily="34" charset="0"/>
              <a:buChar char="•"/>
            </a:pPr>
            <a:r>
              <a:rPr lang="en-AU" sz="1200" dirty="0">
                <a:solidFill>
                  <a:srgbClr val="000000"/>
                </a:solidFill>
              </a:rPr>
              <a:t>Note that </a:t>
            </a:r>
            <a:r>
              <a:rPr lang="en-AU" sz="1200" b="0" i="0" u="none" strike="noStrike" kern="1200" baseline="0" dirty="0">
                <a:solidFill>
                  <a:schemeClr val="tx1"/>
                </a:solidFill>
                <a:latin typeface="+mn-lt"/>
                <a:ea typeface="+mn-ea"/>
                <a:cs typeface="+mn-cs"/>
              </a:rPr>
              <a:t>2,300 gas is currently only enough to log an event.</a:t>
            </a:r>
          </a:p>
          <a:p>
            <a:pPr marL="171450" indent="-171450">
              <a:buFont typeface="Arial" panose="020B0604020202020204" pitchFamily="34" charset="0"/>
              <a:buChar char="•"/>
            </a:pPr>
            <a:r>
              <a:rPr lang="en-AU" dirty="0">
                <a:hlinkClick r:id="rId3"/>
              </a:rPr>
              <a:t>See https://solidity.readthedocs.io/en/v0.6.10/units-and-global-variables.html#address-related</a:t>
            </a:r>
            <a:endParaRPr lang="en-AU" sz="1200" dirty="0">
              <a:solidFill>
                <a:srgbClr val="000000"/>
              </a:solidFill>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22</a:t>
            </a:fld>
            <a:endParaRPr lang="en-AU"/>
          </a:p>
        </p:txBody>
      </p:sp>
    </p:spTree>
    <p:extLst>
      <p:ext uri="{BB962C8B-B14F-4D97-AF65-F5344CB8AC3E}">
        <p14:creationId xmlns:p14="http://schemas.microsoft.com/office/powerpoint/2010/main" val="155007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200" b="0" i="0" u="none" strike="noStrike" kern="1200" baseline="0" dirty="0">
                <a:solidFill>
                  <a:schemeClr val="tx1"/>
                </a:solidFill>
                <a:latin typeface="+mn-lt"/>
                <a:ea typeface="+mn-ea"/>
                <a:cs typeface="+mn-cs"/>
              </a:rPr>
              <a:t>If the transfer() fails, the function will revoke. This mean the current highest bigger can remain so even if someone is offering a higher bid.</a:t>
            </a:r>
          </a:p>
          <a:p>
            <a:pPr marL="171450" indent="-171450">
              <a:buFont typeface="Arial" panose="020B0604020202020204" pitchFamily="34" charset="0"/>
              <a:buChar char="•"/>
            </a:pPr>
            <a:r>
              <a:rPr lang="en-AU" sz="1200" b="0" i="0" u="none" strike="noStrike" kern="1200" baseline="0" dirty="0">
                <a:solidFill>
                  <a:schemeClr val="tx1"/>
                </a:solidFill>
                <a:latin typeface="+mn-lt"/>
                <a:ea typeface="+mn-ea"/>
                <a:cs typeface="+mn-cs"/>
              </a:rPr>
              <a:t>Mitigates this problem by isolating the external call into its own transaction that can be initiated by the recipient of the call.</a:t>
            </a:r>
          </a:p>
          <a:p>
            <a:pPr marL="171450" indent="-171450">
              <a:buFont typeface="Arial" panose="020B0604020202020204" pitchFamily="34" charset="0"/>
              <a:buChar char="•"/>
            </a:pPr>
            <a:r>
              <a:rPr lang="en-AU" sz="1200" b="0" i="0" u="none" strike="noStrike" kern="1200" baseline="0" dirty="0">
                <a:solidFill>
                  <a:schemeClr val="tx1"/>
                </a:solidFill>
                <a:latin typeface="+mn-lt"/>
                <a:ea typeface="+mn-ea"/>
                <a:cs typeface="+mn-cs"/>
              </a:rPr>
              <a:t>How would the previous highest bidder know that it’s no longer the highest bidder and need to pull its bid?</a:t>
            </a: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3</a:t>
            </a:fld>
            <a:endParaRPr lang="en-AU"/>
          </a:p>
        </p:txBody>
      </p:sp>
    </p:spTree>
    <p:extLst>
      <p:ext uri="{BB962C8B-B14F-4D97-AF65-F5344CB8AC3E}">
        <p14:creationId xmlns:p14="http://schemas.microsoft.com/office/powerpoint/2010/main" val="2200816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24</a:t>
            </a:fld>
            <a:endParaRPr lang="en-AU"/>
          </a:p>
        </p:txBody>
      </p:sp>
    </p:spTree>
    <p:extLst>
      <p:ext uri="{BB962C8B-B14F-4D97-AF65-F5344CB8AC3E}">
        <p14:creationId xmlns:p14="http://schemas.microsoft.com/office/powerpoint/2010/main" val="34908242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496215-5E4C-414D-A8DB-C38AA7CF7C2A}" type="slidenum">
              <a:rPr lang="en-AU" smtClean="0"/>
              <a:pPr/>
              <a:t>3</a:t>
            </a:fld>
            <a:endParaRPr lang="en-AU"/>
          </a:p>
        </p:txBody>
      </p:sp>
    </p:spTree>
    <p:extLst>
      <p:ext uri="{BB962C8B-B14F-4D97-AF65-F5344CB8AC3E}">
        <p14:creationId xmlns:p14="http://schemas.microsoft.com/office/powerpoint/2010/main" val="1826882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Patterns are everywhere, it’s just we don’t either see them or if we know we still don’t know how to use them.</a:t>
            </a:r>
          </a:p>
          <a:p>
            <a:pPr marL="171450" indent="-171450">
              <a:buFont typeface="Arial" panose="020B0604020202020204" pitchFamily="34" charset="0"/>
              <a:buChar char="•"/>
            </a:pPr>
            <a:r>
              <a:rPr lang="en-AU" dirty="0"/>
              <a:t>There are a couple of quotes about patterns.</a:t>
            </a:r>
          </a:p>
          <a:p>
            <a:pPr marL="171450" indent="-171450">
              <a:buFont typeface="Arial" panose="020B0604020202020204" pitchFamily="34" charset="0"/>
              <a:buChar char="•"/>
            </a:pPr>
            <a:r>
              <a:rPr lang="en-AU" dirty="0"/>
              <a:t>Anyway, the more you know the better. However, don’t overuse patterns to the point they become useless. Use them if they help to solve a problem… Also, you need to fill missing details.</a:t>
            </a:r>
          </a:p>
        </p:txBody>
      </p:sp>
      <p:sp>
        <p:nvSpPr>
          <p:cNvPr id="4" name="Slide Number Placeholder 3"/>
          <p:cNvSpPr>
            <a:spLocks noGrp="1"/>
          </p:cNvSpPr>
          <p:nvPr>
            <p:ph type="sldNum" sz="quarter" idx="5"/>
          </p:nvPr>
        </p:nvSpPr>
        <p:spPr/>
        <p:txBody>
          <a:bodyPr/>
          <a:lstStyle/>
          <a:p>
            <a:fld id="{9A496215-5E4C-414D-A8DB-C38AA7CF7C2A}" type="slidenum">
              <a:rPr lang="en-AU" smtClean="0"/>
              <a:pPr/>
              <a:t>4</a:t>
            </a:fld>
            <a:endParaRPr lang="en-AU"/>
          </a:p>
        </p:txBody>
      </p:sp>
    </p:spTree>
    <p:extLst>
      <p:ext uri="{BB962C8B-B14F-4D97-AF65-F5344CB8AC3E}">
        <p14:creationId xmlns:p14="http://schemas.microsoft.com/office/powerpoint/2010/main" val="12134263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indent="-171450">
              <a:buFont typeface="Arial"/>
              <a:buChar char="•"/>
            </a:pPr>
            <a:r>
              <a:rPr lang="en-US" dirty="0"/>
              <a:t>You may have heard about design patterns in your object-oriented programming class.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dirty="0"/>
              <a:t>In software engineering, </a:t>
            </a:r>
            <a:r>
              <a:rPr lang="en-AU" noProof="0" dirty="0"/>
              <a:t>a design pattern is a recurring solution to a common problem related to implementation, e.g., factory pattern and proxy.</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noProof="0" dirty="0"/>
              <a:t>We have seen this diagram before. Design patterns are oriented towards developers (also important to architects too) and they are not application domain specific.</a:t>
            </a:r>
          </a:p>
          <a:p>
            <a:pPr marL="171450" indent="-171450">
              <a:buFont typeface="Arial"/>
              <a:buChar char="•"/>
            </a:pPr>
            <a:r>
              <a:rPr lang="en-US" dirty="0"/>
              <a:t>A design pattern </a:t>
            </a:r>
            <a:r>
              <a:rPr lang="en-US" baseline="0" dirty="0"/>
              <a:t>is a description or template for how to solve a problem that can be used in many different situations. </a:t>
            </a:r>
          </a:p>
          <a:p>
            <a:pPr marL="628650" lvl="1" indent="-171450">
              <a:buFont typeface="Arial"/>
              <a:buChar char="•"/>
            </a:pPr>
            <a:r>
              <a:rPr lang="en-US" baseline="0" dirty="0"/>
              <a:t>It is not a finished design that can be transformed directly into code. </a:t>
            </a:r>
          </a:p>
          <a:p>
            <a:pPr marL="628650" lvl="1" indent="-171450">
              <a:buFont typeface="Arial"/>
              <a:buChar char="•"/>
            </a:pPr>
            <a:r>
              <a:rPr lang="en-US" dirty="0"/>
              <a:t>A pattern defines constraints that restrict the roles of architectural elements (processing, connectors, and data) and the interaction among those elements. </a:t>
            </a:r>
          </a:p>
          <a:p>
            <a:pPr marL="171450" indent="-171450">
              <a:buFont typeface="Arial"/>
              <a:buChar char="•"/>
            </a:pPr>
            <a:r>
              <a:rPr lang="en-US" dirty="0"/>
              <a:t>Adopting a design pattern causes trade-offs among quality attributes. Therefore, it is important to understand what problem a pattern can solve and the resulting software qualities.</a:t>
            </a:r>
            <a:endParaRPr lang="en-AU" noProof="0" dirty="0"/>
          </a:p>
          <a:p>
            <a:pPr marL="171450" indent="-171450">
              <a:buFont typeface="Arial"/>
              <a:buChar char="•"/>
            </a:pPr>
            <a:endParaRPr lang="en-US" dirty="0"/>
          </a:p>
        </p:txBody>
      </p:sp>
      <p:sp>
        <p:nvSpPr>
          <p:cNvPr id="4" name="Slide Number Placeholder 3"/>
          <p:cNvSpPr>
            <a:spLocks noGrp="1"/>
          </p:cNvSpPr>
          <p:nvPr>
            <p:ph type="sldNum" sz="quarter" idx="10"/>
          </p:nvPr>
        </p:nvSpPr>
        <p:spPr/>
        <p:txBody>
          <a:bodyPr/>
          <a:lstStyle/>
          <a:p>
            <a:fld id="{001C9F81-DB2C-42C9-B6F6-C5F374D31FE4}" type="slidenum">
              <a:rPr lang="en-AU" smtClean="0"/>
              <a:t>5</a:t>
            </a:fld>
            <a:endParaRPr lang="en-AU"/>
          </a:p>
        </p:txBody>
      </p:sp>
    </p:spTree>
    <p:extLst>
      <p:ext uri="{BB962C8B-B14F-4D97-AF65-F5344CB8AC3E}">
        <p14:creationId xmlns:p14="http://schemas.microsoft.com/office/powerpoint/2010/main" val="2668552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b="0" i="0" u="none" strike="noStrike" dirty="0">
                <a:solidFill>
                  <a:srgbClr val="000000"/>
                </a:solidFill>
                <a:effectLst/>
              </a:rPr>
              <a:t>Effective software design requires considering issues that may not become apparent until later stages in the software development life cycle.</a:t>
            </a:r>
          </a:p>
          <a:p>
            <a:pPr marL="628650" lvl="1" indent="-171450">
              <a:buFont typeface="Arial" panose="020B0604020202020204" pitchFamily="34" charset="0"/>
              <a:buChar char="•"/>
            </a:pPr>
            <a:r>
              <a:rPr lang="en-AU" dirty="0"/>
              <a:t>Whereas design patterns document the efforts of experts who have come across such issu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There is no need to reinvent the wheel.</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However, they should be documented in a way that is flexible where they can be applied in many software architectures. They also allow flexibility in replacing one pattern with another.</a:t>
            </a:r>
          </a:p>
          <a:p>
            <a:pPr marL="171450" indent="-171450">
              <a:buFont typeface="Arial" panose="020B0604020202020204" pitchFamily="34" charset="0"/>
              <a:buChar char="•"/>
            </a:pPr>
            <a:r>
              <a:rPr lang="en-AU" dirty="0"/>
              <a:t>Therefore, by reusing patterns, we could prevent subtle errors and enhance code readability.</a:t>
            </a:r>
          </a:p>
          <a:p>
            <a:pPr marL="171450" indent="-171450">
              <a:buFont typeface="Arial" panose="020B0604020202020204" pitchFamily="34" charset="0"/>
              <a:buChar char="•"/>
            </a:pPr>
            <a:r>
              <a:rPr lang="en-AU" dirty="0"/>
              <a:t>Can speed up the development process by providing tested, proven development paradigms.</a:t>
            </a:r>
          </a:p>
          <a:p>
            <a:pPr marL="800100" lvl="1" indent="-342900">
              <a:buFont typeface="Arial" panose="020B0604020202020204" pitchFamily="34" charset="0"/>
              <a:buChar char="•"/>
            </a:pPr>
            <a:r>
              <a:rPr lang="en-US" sz="2000" dirty="0"/>
              <a:t>E.g., Gang of Four (</a:t>
            </a:r>
            <a:r>
              <a:rPr lang="en-US" sz="2000" dirty="0" err="1"/>
              <a:t>GoF</a:t>
            </a:r>
            <a:r>
              <a:rPr lang="en-US" sz="2000" dirty="0"/>
              <a:t>) object-oriented design patterns </a:t>
            </a:r>
            <a:r>
              <a:rPr lang="en-US" baseline="0" dirty="0"/>
              <a:t>are the most widely used design patterns. They were proposed in the book Design Patterns: Elements of reusable object-oriented software.</a:t>
            </a:r>
            <a:endParaRPr lang="en-AU" baseline="0" dirty="0"/>
          </a:p>
        </p:txBody>
      </p:sp>
      <p:sp>
        <p:nvSpPr>
          <p:cNvPr id="4" name="Slide Number Placeholder 3"/>
          <p:cNvSpPr>
            <a:spLocks noGrp="1"/>
          </p:cNvSpPr>
          <p:nvPr>
            <p:ph type="sldNum" sz="quarter" idx="10"/>
          </p:nvPr>
        </p:nvSpPr>
        <p:spPr/>
        <p:txBody>
          <a:bodyPr/>
          <a:lstStyle/>
          <a:p>
            <a:fld id="{001C9F81-DB2C-42C9-B6F6-C5F374D31FE4}" type="slidenum">
              <a:rPr lang="en-AU" smtClean="0"/>
              <a:t>6</a:t>
            </a:fld>
            <a:endParaRPr lang="en-AU"/>
          </a:p>
        </p:txBody>
      </p:sp>
    </p:spTree>
    <p:extLst>
      <p:ext uri="{BB962C8B-B14F-4D97-AF65-F5344CB8AC3E}">
        <p14:creationId xmlns:p14="http://schemas.microsoft.com/office/powerpoint/2010/main" val="2668552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indent="-171450">
              <a:buFont typeface="Arial"/>
              <a:buChar char="•"/>
            </a:pPr>
            <a:r>
              <a:rPr lang="en-US" dirty="0"/>
              <a:t>When it comes to documenting a design pattern, there are 4 essential</a:t>
            </a:r>
            <a:r>
              <a:rPr lang="en-US" baseline="0" dirty="0"/>
              <a:t> elements.</a:t>
            </a:r>
          </a:p>
          <a:p>
            <a:pPr marL="171450" lvl="0" indent="-171450">
              <a:buFont typeface="Arial"/>
              <a:buChar char="•"/>
            </a:pPr>
            <a:r>
              <a:rPr lang="en-US" dirty="0"/>
              <a:t>The pattern name is a handler we can use to describe</a:t>
            </a:r>
            <a:r>
              <a:rPr lang="en-US" baseline="0" dirty="0"/>
              <a:t> a design problem, its solutions, and consequences in a word or 2. </a:t>
            </a:r>
          </a:p>
          <a:p>
            <a:pPr marL="628650" lvl="1" indent="-171450">
              <a:buFont typeface="Arial"/>
              <a:buChar char="•"/>
            </a:pPr>
            <a:r>
              <a:rPr lang="en-US" baseline="0" dirty="0"/>
              <a:t>The name of a pattern immediately increases our design vocabulary. Having a vocabulary for patterns lets us talk about them with others. But Finding good names has been one of the hardest parts of developing a pattern catalogue.</a:t>
            </a:r>
          </a:p>
          <a:p>
            <a:pPr marL="171450" lvl="0" indent="-171450">
              <a:buFont typeface="Arial"/>
              <a:buChar char="•"/>
            </a:pPr>
            <a:r>
              <a:rPr lang="en-US" baseline="0" dirty="0"/>
              <a:t>The problem describes when to apply the pattern. </a:t>
            </a:r>
          </a:p>
          <a:p>
            <a:pPr marL="628650" lvl="1" indent="-171450">
              <a:buFont typeface="Arial"/>
              <a:buChar char="•"/>
            </a:pPr>
            <a:r>
              <a:rPr lang="en-US" baseline="0" dirty="0"/>
              <a:t>It explains the problem and the context in which it exists. Sometimes the problem will include a list of conditions that must be met before it makes sense to apply the pattern.</a:t>
            </a:r>
          </a:p>
          <a:p>
            <a:pPr marL="171450" lvl="0" indent="-171450">
              <a:buFont typeface="Arial"/>
              <a:buChar char="•"/>
            </a:pPr>
            <a:r>
              <a:rPr lang="en-US" baseline="0" dirty="0"/>
              <a:t>The solution describes the elements that make up the design, their relationships, responsibilities, and collaborations. </a:t>
            </a:r>
          </a:p>
          <a:p>
            <a:pPr marL="628650" lvl="1" indent="-171450">
              <a:buFont typeface="Arial"/>
              <a:buChar char="•"/>
            </a:pPr>
            <a:r>
              <a:rPr lang="en-US" baseline="0" dirty="0"/>
              <a:t>The solution doesn’t describe a particular concrete design or implementation, because a pattern is like a template that can be applied in many different situations. Instead, the pattern provides an abstract description of a design problem and how a general arrangement of elements (classes and objects in our case) solves it. </a:t>
            </a:r>
          </a:p>
          <a:p>
            <a:pPr marL="171450" indent="-171450">
              <a:buFont typeface="Arial"/>
              <a:buChar char="•"/>
            </a:pPr>
            <a:r>
              <a:rPr lang="en-US" baseline="0" dirty="0"/>
              <a:t>The consequences are the results and trade-offs of applying the pattern. </a:t>
            </a:r>
          </a:p>
          <a:p>
            <a:pPr marL="628650" lvl="1" indent="-171450">
              <a:buFont typeface="Arial"/>
              <a:buChar char="•"/>
            </a:pPr>
            <a:r>
              <a:rPr lang="en-US" baseline="0" dirty="0"/>
              <a:t>They are critical for evaluating design alternatives and for understanding the costs and benefits of applying the pattern. The consequences of software often concern space, time, and cost trade-offs. </a:t>
            </a:r>
          </a:p>
        </p:txBody>
      </p:sp>
      <p:sp>
        <p:nvSpPr>
          <p:cNvPr id="4" name="Slide Number Placeholder 3"/>
          <p:cNvSpPr>
            <a:spLocks noGrp="1"/>
          </p:cNvSpPr>
          <p:nvPr>
            <p:ph type="sldNum" sz="quarter" idx="10"/>
          </p:nvPr>
        </p:nvSpPr>
        <p:spPr/>
        <p:txBody>
          <a:bodyPr/>
          <a:lstStyle/>
          <a:p>
            <a:fld id="{001C9F81-DB2C-42C9-B6F6-C5F374D31FE4}" type="slidenum">
              <a:rPr lang="en-AU" smtClean="0"/>
              <a:t>7</a:t>
            </a:fld>
            <a:endParaRPr lang="en-AU"/>
          </a:p>
        </p:txBody>
      </p:sp>
    </p:spTree>
    <p:extLst>
      <p:ext uri="{BB962C8B-B14F-4D97-AF65-F5344CB8AC3E}">
        <p14:creationId xmlns:p14="http://schemas.microsoft.com/office/powerpoint/2010/main" val="16739986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baseline="0" dirty="0"/>
              <a:t>This is called the extended pattern form which is usually used when documenting patterns in academic publications. Even industry publications are not very far from this.</a:t>
            </a:r>
          </a:p>
          <a:p>
            <a:pPr marL="171450" indent="-171450">
              <a:buFont typeface="Arial"/>
              <a:buChar char="•"/>
            </a:pPr>
            <a:r>
              <a:rPr lang="en-US" baseline="0" dirty="0"/>
              <a:t>This is the structure of the pattern form or template we used to describe the blockchain application patterns. </a:t>
            </a:r>
          </a:p>
          <a:p>
            <a:pPr marL="171450" indent="-171450">
              <a:buFont typeface="Arial"/>
              <a:buChar char="•"/>
            </a:pPr>
            <a:r>
              <a:rPr lang="en-US" baseline="0" dirty="0"/>
              <a:t>This extended pattern form has a few additional elements like </a:t>
            </a:r>
          </a:p>
          <a:p>
            <a:pPr marL="628650" lvl="1" indent="-171450">
              <a:buFont typeface="Arial"/>
              <a:buChar char="•"/>
            </a:pPr>
            <a:r>
              <a:rPr lang="en-US" baseline="0" dirty="0"/>
              <a:t>A summary that </a:t>
            </a:r>
            <a:r>
              <a:rPr lang="en-US" baseline="0" dirty="0" err="1"/>
              <a:t>summarises</a:t>
            </a:r>
            <a:r>
              <a:rPr lang="en-US" baseline="0" dirty="0"/>
              <a:t> the pattern in 1 or to sentences.</a:t>
            </a:r>
          </a:p>
          <a:p>
            <a:pPr marL="628650" lvl="1" indent="-171450">
              <a:buFont typeface="Arial"/>
              <a:buChar char="•"/>
            </a:pPr>
            <a:r>
              <a:rPr lang="en-US" baseline="0" dirty="0"/>
              <a:t>In the context that the problem exists, e.g., </a:t>
            </a:r>
            <a:r>
              <a:rPr lang="en-AU" b="0" i="0" u="none" strike="noStrike" dirty="0">
                <a:solidFill>
                  <a:srgbClr val="1D2021"/>
                </a:solidFill>
                <a:effectLst/>
                <a:latin typeface="Open Sans" panose="020F0502020204030204" pitchFamily="34" charset="0"/>
              </a:rPr>
              <a:t>in blockchain-based applications, activities might need to be authorised by multiple blockchain addresses.</a:t>
            </a:r>
            <a:endParaRPr lang="en-US" baseline="0" dirty="0"/>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Forces are an explicit discussion of the forces which make the problem difficult to solve, e.g., lost keys, and cost of transactions. Forces are identified with the corresponding quality attribute, the solution will propose a trade-off between them. </a:t>
            </a:r>
          </a:p>
          <a:p>
            <a:pPr marL="628650" lvl="1" indent="-171450">
              <a:buFont typeface="Arial"/>
              <a:buChar char="•"/>
            </a:pPr>
            <a:r>
              <a:rPr lang="en-US" baseline="0" dirty="0"/>
              <a:t>Consequents are trade-offs between quality attributes that are affected by the pattern, e.g., while security can be enhanced with multi-signature transactions more transactions mean more cost.</a:t>
            </a:r>
          </a:p>
          <a:p>
            <a:pPr marL="1085850" lvl="2" indent="-171450">
              <a:buFont typeface="Arial"/>
              <a:buChar char="•"/>
            </a:pPr>
            <a:r>
              <a:rPr lang="en-US" baseline="0" dirty="0"/>
              <a:t>Sometimes consequences are presented separately as benefits and drawback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Related patterns –</a:t>
            </a:r>
            <a:r>
              <a:rPr lang="en-AU" dirty="0"/>
              <a:t>Other patterns that provide alternative solutions or can work together.</a:t>
            </a:r>
          </a:p>
          <a:p>
            <a:pPr marL="628650" lvl="1" indent="-171450">
              <a:buFont typeface="Arial"/>
              <a:buChar char="•"/>
            </a:pPr>
            <a:r>
              <a:rPr lang="en-US" baseline="0" dirty="0"/>
              <a:t>Some examples of real-world known uses of the pattern. </a:t>
            </a:r>
          </a:p>
          <a:p>
            <a:pPr marL="171450" indent="-171450">
              <a:buFont typeface="Arial"/>
              <a:buChar char="•"/>
            </a:pPr>
            <a:r>
              <a:rPr lang="en-US" baseline="0" dirty="0"/>
              <a:t>Regarding the consequences, we distinguish the benefits and drawbacks. </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8</a:t>
            </a:fld>
            <a:endParaRPr lang="en-AU" dirty="0"/>
          </a:p>
        </p:txBody>
      </p:sp>
    </p:spTree>
    <p:extLst>
      <p:ext uri="{BB962C8B-B14F-4D97-AF65-F5344CB8AC3E}">
        <p14:creationId xmlns:p14="http://schemas.microsoft.com/office/powerpoint/2010/main" val="11376867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AU" noProof="0" dirty="0"/>
              <a:t>Here is a blockchain-based application pattern collection that presents patterns under several categories. Also, the scattered line shows whether the parries apply sits on-chain or off-chain.</a:t>
            </a:r>
            <a:endParaRPr lang="en-AU" baseline="0" noProof="0" dirty="0"/>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AU" sz="1200" b="0" noProof="0" dirty="0"/>
              <a:t>Interaction with External World patterns focuses on on-chain and off-chain data flow.</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b="0" noProof="0" dirty="0"/>
              <a:t>It covers 3 types of oracles we discussed so far,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b="0" noProof="0" dirty="0"/>
              <a:t>The voting pattern has the usual meaning and can be used to vote for data reported by decentralised oracle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AU" sz="1200" b="0" noProof="0" dirty="0"/>
              <a:t>Legal and smart contract pair can be used to establish a </a:t>
            </a:r>
            <a:r>
              <a:rPr lang="en-AU" b="0" i="0" u="none" strike="noStrike" dirty="0">
                <a:solidFill>
                  <a:srgbClr val="1D2021"/>
                </a:solidFill>
                <a:effectLst/>
                <a:latin typeface="Open Sans" panose="020B0606030504020204" pitchFamily="34" charset="0"/>
              </a:rPr>
              <a:t>bidirectional binding between a legal agreement and a corresponding smart contract.</a:t>
            </a:r>
            <a:endParaRPr lang="en-AU" sz="1200" b="0" noProof="0" dirty="0"/>
          </a:p>
          <a:p>
            <a:pPr marL="171450" indent="-171450">
              <a:buFont typeface="Arial"/>
              <a:buChar char="•"/>
            </a:pPr>
            <a:r>
              <a:rPr lang="en-AU" b="0" i="0" u="none" strike="noStrike" dirty="0">
                <a:solidFill>
                  <a:srgbClr val="1D2021"/>
                </a:solidFill>
                <a:effectLst/>
                <a:latin typeface="Open Sans" panose="020B0606030504020204" pitchFamily="34" charset="0"/>
              </a:rPr>
              <a:t>Data management patterns focus on managing data on and off the blockchain.</a:t>
            </a:r>
          </a:p>
          <a:p>
            <a:pPr marL="628650" lvl="1" indent="-171450">
              <a:buFont typeface="Arial"/>
              <a:buChar char="•"/>
            </a:pPr>
            <a:r>
              <a:rPr lang="en-AU" b="0" i="0" u="none" strike="noStrike" dirty="0">
                <a:solidFill>
                  <a:srgbClr val="1D2021"/>
                </a:solidFill>
                <a:effectLst/>
                <a:latin typeface="Open Sans" panose="020B0606030504020204" pitchFamily="34" charset="0"/>
              </a:rPr>
              <a:t>We have already talked about options like storing data off-chain and encrypting data before storing on-chain.</a:t>
            </a:r>
          </a:p>
          <a:p>
            <a:pPr marL="628650" lvl="1" indent="-171450">
              <a:buFont typeface="Arial"/>
              <a:buChar char="•"/>
            </a:pPr>
            <a:r>
              <a:rPr lang="en-AU" b="0" i="0" u="none" strike="noStrike" dirty="0">
                <a:solidFill>
                  <a:srgbClr val="1D2021"/>
                </a:solidFill>
                <a:effectLst/>
                <a:latin typeface="Open Sans" panose="020B0606030504020204" pitchFamily="34" charset="0"/>
              </a:rPr>
              <a:t>The tokenisation pattern is about the idea of using tokens to represent an asset.</a:t>
            </a:r>
          </a:p>
          <a:p>
            <a:pPr marL="628650" lvl="1" indent="-171450">
              <a:buFont typeface="Arial"/>
              <a:buChar char="•"/>
            </a:pPr>
            <a:r>
              <a:rPr lang="en-AU" b="0" i="0" u="none" strike="noStrike" dirty="0">
                <a:solidFill>
                  <a:srgbClr val="1D2021"/>
                </a:solidFill>
                <a:effectLst/>
                <a:latin typeface="Open Sans" panose="020B0606030504020204" pitchFamily="34" charset="0"/>
              </a:rPr>
              <a:t>State channel patterns can be used to conduct low-value or high-velocity transactions off-chain. We’ll discuss this pattern in a later lecture.</a:t>
            </a:r>
          </a:p>
          <a:p>
            <a:pPr marL="171450" lvl="0" indent="-171450">
              <a:buFont typeface="Arial"/>
              <a:buChar char="•"/>
            </a:pPr>
            <a:r>
              <a:rPr lang="en-AU" b="0" i="0" u="none" strike="noStrike" dirty="0">
                <a:solidFill>
                  <a:srgbClr val="1D2021"/>
                </a:solidFill>
                <a:effectLst/>
                <a:latin typeface="Open Sans" panose="020B0606030504020204" pitchFamily="34" charset="0"/>
              </a:rPr>
              <a:t>Security aspects like authentication based on digital signatures are core components of blockchain design. </a:t>
            </a:r>
          </a:p>
          <a:p>
            <a:pPr marL="628650" lvl="1" indent="-171450">
              <a:buFont typeface="Arial"/>
              <a:buChar char="•"/>
            </a:pPr>
            <a:r>
              <a:rPr lang="en-AU" b="0" i="0" u="none" strike="noStrike" dirty="0">
                <a:solidFill>
                  <a:srgbClr val="1D2021"/>
                </a:solidFill>
                <a:effectLst/>
                <a:latin typeface="Open Sans" panose="020B0606030504020204" pitchFamily="34" charset="0"/>
              </a:rPr>
              <a:t>We already discussed multi-signature which is also known as multiple-authorisation.</a:t>
            </a:r>
          </a:p>
          <a:p>
            <a:pPr marL="628650" lvl="1" indent="-171450">
              <a:buFont typeface="Arial"/>
              <a:buChar char="•"/>
            </a:pPr>
            <a:r>
              <a:rPr lang="en-AU" b="0" i="0" u="sng" dirty="0">
                <a:solidFill>
                  <a:srgbClr val="004B87"/>
                </a:solidFill>
                <a:effectLst/>
                <a:latin typeface="Open Sans" panose="020B0606030504020204" pitchFamily="34" charset="0"/>
                <a:hlinkClick r:id="rId3"/>
              </a:rPr>
              <a:t>Dynamic Authorisation</a:t>
            </a:r>
            <a:r>
              <a:rPr lang="en-AU" b="0" i="0" u="none" strike="noStrike" dirty="0">
                <a:solidFill>
                  <a:srgbClr val="1D2021"/>
                </a:solidFill>
                <a:effectLst/>
                <a:latin typeface="Open Sans" panose="020B0606030504020204" pitchFamily="34" charset="0"/>
              </a:rPr>
              <a:t> uses a secret created off-chain to bind the authority for a transaction dynamically.</a:t>
            </a:r>
          </a:p>
          <a:p>
            <a:pPr marL="628650" lvl="1" indent="-171450">
              <a:buFont typeface="Arial"/>
              <a:buChar char="•"/>
            </a:pPr>
            <a:r>
              <a:rPr lang="en-AU" b="0" i="0" u="sng" strike="noStrike" dirty="0">
                <a:solidFill>
                  <a:srgbClr val="004B87"/>
                </a:solidFill>
                <a:effectLst/>
                <a:latin typeface="inherit"/>
                <a:hlinkClick r:id="rId4"/>
              </a:rPr>
              <a:t>X-Confirmation</a:t>
            </a:r>
            <a:r>
              <a:rPr lang="en-AU" b="0" i="0" u="none" strike="noStrike" dirty="0">
                <a:solidFill>
                  <a:srgbClr val="1D2021"/>
                </a:solidFill>
                <a:effectLst/>
                <a:latin typeface="inherit"/>
              </a:rPr>
              <a:t> waits for a sufficient number of blocks as confirmations to ensure that a transaction added into the blockchain is immutable with high probability, e.g., waiting for 6 blocks in Bitcoin.</a:t>
            </a:r>
          </a:p>
          <a:p>
            <a:pPr marL="628650" lvl="1" indent="-171450">
              <a:buFont typeface="Arial"/>
              <a:buChar char="•"/>
            </a:pPr>
            <a:r>
              <a:rPr lang="en-AU" b="0" i="0" u="sng" strike="noStrike" dirty="0">
                <a:solidFill>
                  <a:srgbClr val="004B87"/>
                </a:solidFill>
                <a:effectLst/>
                <a:latin typeface="inherit"/>
                <a:hlinkClick r:id="rId5"/>
              </a:rPr>
              <a:t>The security Deposit</a:t>
            </a:r>
            <a:r>
              <a:rPr lang="en-AU" b="0" i="0" u="none" strike="noStrike" dirty="0">
                <a:solidFill>
                  <a:srgbClr val="1D2021"/>
                </a:solidFill>
                <a:effectLst/>
                <a:latin typeface="inherit"/>
              </a:rPr>
              <a:t> pattern is about a user setting aside a certain amount of money as a security deposit.</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b="0" dirty="0"/>
              <a:t>Contract Structural Patterns focus on smart contract design structure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b="0" dirty="0"/>
              <a:t>We’ll talk about some of these patterns later.</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b="0" dirty="0"/>
              <a:t>Deployment patterns focus on the deployment of blockchain-based applications.</a:t>
            </a:r>
          </a:p>
          <a:p>
            <a:pPr marL="171450" lvl="0" indent="-171450">
              <a:buFont typeface="Arial"/>
              <a:buChar char="•"/>
            </a:pPr>
            <a:r>
              <a:rPr lang="en-AU" b="0" i="0" u="none" strike="noStrike" dirty="0">
                <a:solidFill>
                  <a:srgbClr val="1D2021"/>
                </a:solidFill>
                <a:effectLst/>
                <a:latin typeface="inherit"/>
              </a:rPr>
              <a:t>See https://</a:t>
            </a:r>
            <a:r>
              <a:rPr lang="en-AU" b="0" i="0" u="none" strike="noStrike" dirty="0" err="1">
                <a:solidFill>
                  <a:srgbClr val="1D2021"/>
                </a:solidFill>
                <a:effectLst/>
                <a:latin typeface="inherit"/>
              </a:rPr>
              <a:t>research.csiro.au</a:t>
            </a:r>
            <a:r>
              <a:rPr lang="en-AU" b="0" i="0" u="none" strike="noStrike" dirty="0">
                <a:solidFill>
                  <a:srgbClr val="1D2021"/>
                </a:solidFill>
                <a:effectLst/>
                <a:latin typeface="inherit"/>
              </a:rPr>
              <a:t>/</a:t>
            </a:r>
            <a:r>
              <a:rPr lang="en-AU" b="0" i="0" u="none" strike="noStrike" dirty="0" err="1">
                <a:solidFill>
                  <a:srgbClr val="1D2021"/>
                </a:solidFill>
                <a:effectLst/>
                <a:latin typeface="inherit"/>
              </a:rPr>
              <a:t>blockchainpatterns</a:t>
            </a:r>
            <a:r>
              <a:rPr lang="en-AU" b="0" i="0" u="none" strike="noStrike" dirty="0">
                <a:solidFill>
                  <a:srgbClr val="1D2021"/>
                </a:solidFill>
                <a:effectLst/>
                <a:latin typeface="inherit"/>
              </a:rPr>
              <a:t>/ for a large collection of patterns.</a:t>
            </a:r>
          </a:p>
          <a:p>
            <a:pPr marL="628650" lvl="1" indent="-171450">
              <a:buFont typeface="Arial"/>
              <a:buChar char="•"/>
            </a:pPr>
            <a:endParaRPr lang="en-AU" b="0" i="0" u="none" strike="noStrike" dirty="0">
              <a:solidFill>
                <a:srgbClr val="1D2021"/>
              </a:solidFill>
              <a:effectLst/>
              <a:latin typeface="Open Sans" panose="020B0606030504020204" pitchFamily="34" charset="0"/>
            </a:endParaRPr>
          </a:p>
          <a:p>
            <a:pPr marL="628650" lvl="1" indent="-171450">
              <a:buFont typeface="Arial"/>
              <a:buChar char="•"/>
            </a:pPr>
            <a:endParaRPr lang="en-AU" b="0" i="0" u="none" strike="noStrike" dirty="0">
              <a:solidFill>
                <a:srgbClr val="1D2021"/>
              </a:solidFill>
              <a:effectLst/>
              <a:latin typeface="Open Sans" panose="020B0606030504020204" pitchFamily="34" charset="0"/>
            </a:endParaRPr>
          </a:p>
          <a:p>
            <a:pPr marL="628650" lvl="1" indent="-171450">
              <a:buFont typeface="Arial"/>
              <a:buChar char="•"/>
            </a:pPr>
            <a:endParaRPr lang="en-AU" noProof="0" dirty="0"/>
          </a:p>
        </p:txBody>
      </p:sp>
      <p:sp>
        <p:nvSpPr>
          <p:cNvPr id="4" name="Slide Number Placeholder 3"/>
          <p:cNvSpPr>
            <a:spLocks noGrp="1"/>
          </p:cNvSpPr>
          <p:nvPr>
            <p:ph type="sldNum" sz="quarter" idx="10"/>
          </p:nvPr>
        </p:nvSpPr>
        <p:spPr/>
        <p:txBody>
          <a:bodyPr/>
          <a:lstStyle/>
          <a:p>
            <a:fld id="{001C9F81-DB2C-42C9-B6F6-C5F374D31FE4}" type="slidenum">
              <a:rPr lang="en-AU" smtClean="0"/>
              <a:t>10</a:t>
            </a:fld>
            <a:endParaRPr lang="en-AU"/>
          </a:p>
        </p:txBody>
      </p:sp>
    </p:spTree>
    <p:extLst>
      <p:ext uri="{BB962C8B-B14F-4D97-AF65-F5344CB8AC3E}">
        <p14:creationId xmlns:p14="http://schemas.microsoft.com/office/powerpoint/2010/main" val="26685521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en-GB"/>
              <a:t>Click to edit Master title style</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419342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B6391CAC-74E7-5EB9-6C58-0351E50EF044}"/>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982060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E5146674-D234-DDFA-EADF-3123DEB44DA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815400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D8AE965E-2C16-BAF9-5FEB-BC4F9A79F1DB}"/>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056168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2"/>
        </a:solidFill>
        <a:effectLst/>
      </p:bgPr>
    </p:bg>
    <p:spTree>
      <p:nvGrpSpPr>
        <p:cNvPr id="1" name=""/>
        <p:cNvGrpSpPr/>
        <p:nvPr/>
      </p:nvGrpSpPr>
      <p:grpSpPr>
        <a:xfrm>
          <a:off x="0" y="0"/>
          <a:ext cx="0" cy="0"/>
          <a:chOff x="0" y="0"/>
          <a:chExt cx="0" cy="0"/>
        </a:xfrm>
      </p:grpSpPr>
      <p:sp>
        <p:nvSpPr>
          <p:cNvPr id="39" name="Text Placeholder 8"/>
          <p:cNvSpPr>
            <a:spLocks noGrp="1"/>
          </p:cNvSpPr>
          <p:nvPr>
            <p:ph type="body" sz="quarter" idx="10"/>
          </p:nvPr>
        </p:nvSpPr>
        <p:spPr>
          <a:xfrm>
            <a:off x="251520" y="1257322"/>
            <a:ext cx="7200800" cy="4000444"/>
          </a:xfrm>
        </p:spPr>
        <p:txBody>
          <a:bodyPr anchor="b" anchorCtr="0"/>
          <a:lstStyle>
            <a:lvl1pPr marL="0" indent="0">
              <a:spcAft>
                <a:spcPts val="0"/>
              </a:spcAft>
              <a:buFontTx/>
              <a:buNone/>
              <a:defRPr sz="4400" b="0">
                <a:solidFill>
                  <a:schemeClr val="accent1"/>
                </a:solidFill>
              </a:defRPr>
            </a:lvl1pPr>
            <a:lvl2pPr marL="0" indent="0">
              <a:lnSpc>
                <a:spcPct val="75000"/>
              </a:lnSpc>
              <a:spcAft>
                <a:spcPts val="850"/>
              </a:spcAft>
              <a:buNone/>
              <a:defRPr sz="4400" b="0">
                <a:solidFill>
                  <a:schemeClr val="bg1"/>
                </a:solidFill>
              </a:defRPr>
            </a:lvl2pPr>
            <a:lvl3pPr marL="0" indent="0">
              <a:buNone/>
              <a:defRPr sz="2200" b="1">
                <a:solidFill>
                  <a:srgbClr val="FFFFFF"/>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7543890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7739815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en-GB"/>
              <a:t>Click to edit Master title style</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99180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12606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en-GB"/>
              <a:t>Click to edit Master title style</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p:cNvSpPr>
            <a:spLocks noGrp="1"/>
          </p:cNvSpPr>
          <p:nvPr>
            <p:ph sz="half" idx="2"/>
          </p:nvPr>
        </p:nvSpPr>
        <p:spPr>
          <a:xfrm>
            <a:off x="629842" y="2087563"/>
            <a:ext cx="3868340"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p:cNvSpPr>
            <a:spLocks noGrp="1"/>
          </p:cNvSpPr>
          <p:nvPr>
            <p:ph sz="quarter" idx="4"/>
          </p:nvPr>
        </p:nvSpPr>
        <p:spPr>
          <a:xfrm>
            <a:off x="4629150" y="2087563"/>
            <a:ext cx="3887391"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745213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79842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7203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Tree>
    <p:extLst>
      <p:ext uri="{BB962C8B-B14F-4D97-AF65-F5344CB8AC3E}">
        <p14:creationId xmlns:p14="http://schemas.microsoft.com/office/powerpoint/2010/main" val="4277143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en-GB"/>
              <a:t>Click to edit Master title style</a:t>
            </a:r>
            <a:endParaRPr lang="de-DE" dirty="0"/>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333896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689105314"/>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4" r:id="rId8"/>
    <p:sldLayoutId id="2147483825" r:id="rId9"/>
    <p:sldLayoutId id="2147483826" r:id="rId10"/>
    <p:sldLayoutId id="2147483827" r:id="rId11"/>
    <p:sldLayoutId id="2147483828" r:id="rId12"/>
    <p:sldLayoutId id="2147483830"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5.xml"/><Relationship Id="rId13" Type="http://schemas.openxmlformats.org/officeDocument/2006/relationships/diagramData" Target="../diagrams/data6.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17" Type="http://schemas.microsoft.com/office/2007/relationships/diagramDrawing" Target="../diagrams/drawing6.xml"/><Relationship Id="rId2" Type="http://schemas.openxmlformats.org/officeDocument/2006/relationships/notesSlide" Target="../notesSlides/notesSlide10.xml"/><Relationship Id="rId16" Type="http://schemas.openxmlformats.org/officeDocument/2006/relationships/diagramColors" Target="../diagrams/colors6.xml"/><Relationship Id="rId1" Type="http://schemas.openxmlformats.org/officeDocument/2006/relationships/slideLayout" Target="../slideLayouts/slideLayout6.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5" Type="http://schemas.openxmlformats.org/officeDocument/2006/relationships/diagramQuickStyle" Target="../diagrams/quickStyle6.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 Id="rId14" Type="http://schemas.openxmlformats.org/officeDocument/2006/relationships/diagramLayout" Target="../diagrams/layout6.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diagramLayout" Target="../diagrams/layout7.xml"/><Relationship Id="rId7" Type="http://schemas.openxmlformats.org/officeDocument/2006/relationships/diagramData" Target="../diagrams/data8.xml"/><Relationship Id="rId2" Type="http://schemas.openxmlformats.org/officeDocument/2006/relationships/diagramData" Target="../diagrams/data7.xml"/><Relationship Id="rId1" Type="http://schemas.openxmlformats.org/officeDocument/2006/relationships/slideLayout" Target="../slideLayouts/slideLayout12.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hyperlink" Target="https://research.csiro.au/blockchainpatterns/"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13.e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hyperlink" Target="https://makeameme.org/"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Design Patterns for Blockchain Applications</a:t>
            </a:r>
            <a:endParaRPr lang="en-AU" sz="3200" noProof="0" dirty="0"/>
          </a:p>
        </p:txBody>
      </p:sp>
      <p:sp>
        <p:nvSpPr>
          <p:cNvPr id="5" name="Rectangle 3">
            <a:extLst>
              <a:ext uri="{FF2B5EF4-FFF2-40B4-BE49-F238E27FC236}">
                <a16:creationId xmlns:a16="http://schemas.microsoft.com/office/drawing/2014/main" id="{B31DAE7B-3194-4C04-B590-3EDA09C3107B}"/>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some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Blockchain-Based Application Pattern Collection</a:t>
            </a:r>
          </a:p>
        </p:txBody>
      </p:sp>
      <p:sp>
        <p:nvSpPr>
          <p:cNvPr id="5" name="Slide Number Placeholder 4"/>
          <p:cNvSpPr>
            <a:spLocks noGrp="1"/>
          </p:cNvSpPr>
          <p:nvPr>
            <p:ph type="sldNum" sz="quarter" idx="4"/>
          </p:nvPr>
        </p:nvSpPr>
        <p:spPr>
          <a:prstGeom prst="rect">
            <a:avLst/>
          </a:prstGeom>
        </p:spPr>
        <p:txBody>
          <a:bodyPr vert="horz" lIns="0" tIns="0" rIns="0" bIns="0" rtlCol="0" anchor="ctr"/>
          <a:lstStyle>
            <a:defPPr>
              <a:defRPr lang="en-US"/>
            </a:defPPr>
            <a:lvl1pPr marL="0" algn="r"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F7CBAA-22EA-41CE-9725-C57ED0CEBC27}" type="slidenum">
              <a:rPr lang="en-AU" smtClean="0"/>
              <a:pPr/>
              <a:t>10</a:t>
            </a:fld>
            <a:r>
              <a:rPr lang="en-AU"/>
              <a:t>  |</a:t>
            </a:r>
            <a:endParaRPr lang="en-AU" dirty="0"/>
          </a:p>
        </p:txBody>
      </p:sp>
      <p:graphicFrame>
        <p:nvGraphicFramePr>
          <p:cNvPr id="4" name="Diagram 3"/>
          <p:cNvGraphicFramePr/>
          <p:nvPr>
            <p:extLst>
              <p:ext uri="{D42A27DB-BD31-4B8C-83A1-F6EECF244321}">
                <p14:modId xmlns:p14="http://schemas.microsoft.com/office/powerpoint/2010/main" val="447562601"/>
              </p:ext>
            </p:extLst>
          </p:nvPr>
        </p:nvGraphicFramePr>
        <p:xfrm>
          <a:off x="260508" y="1273324"/>
          <a:ext cx="8484841" cy="37317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3" name="Straight Connector 12"/>
          <p:cNvCxnSpPr/>
          <p:nvPr/>
        </p:nvCxnSpPr>
        <p:spPr>
          <a:xfrm flipV="1">
            <a:off x="667951" y="3793210"/>
            <a:ext cx="2041053" cy="395"/>
          </a:xfrm>
          <a:prstGeom prst="line">
            <a:avLst/>
          </a:prstGeom>
          <a:ln w="28575" cmpd="sng">
            <a:solidFill>
              <a:schemeClr val="accent4"/>
            </a:solidFill>
            <a:prstDash val="sysDash"/>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2721148" y="3114603"/>
            <a:ext cx="1323780" cy="5"/>
          </a:xfrm>
          <a:prstGeom prst="line">
            <a:avLst/>
          </a:prstGeom>
          <a:ln w="28575" cmpd="sng">
            <a:solidFill>
              <a:schemeClr val="accent4"/>
            </a:solidFill>
            <a:prstDash val="sysDash"/>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4035549" y="2506112"/>
            <a:ext cx="1168201" cy="0"/>
          </a:xfrm>
          <a:prstGeom prst="line">
            <a:avLst/>
          </a:prstGeom>
          <a:ln w="28575" cmpd="sng">
            <a:solidFill>
              <a:schemeClr val="accent4"/>
            </a:solidFill>
            <a:prstDash val="sysDash"/>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5191217" y="1886023"/>
            <a:ext cx="1338991" cy="4"/>
          </a:xfrm>
          <a:prstGeom prst="line">
            <a:avLst/>
          </a:prstGeom>
          <a:ln w="28575" cmpd="sng">
            <a:solidFill>
              <a:schemeClr val="accent4"/>
            </a:solidFill>
            <a:prstDash val="sysDash"/>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501262" y="2506186"/>
            <a:ext cx="1529982" cy="8"/>
          </a:xfrm>
          <a:prstGeom prst="line">
            <a:avLst/>
          </a:prstGeom>
          <a:ln w="28575" cmpd="sng">
            <a:solidFill>
              <a:schemeClr val="accent4"/>
            </a:solidFill>
            <a:prstDash val="sysDash"/>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2709189" y="3103684"/>
            <a:ext cx="0" cy="998951"/>
          </a:xfrm>
          <a:prstGeom prst="line">
            <a:avLst/>
          </a:prstGeom>
          <a:ln w="28575" cmpd="sng">
            <a:solidFill>
              <a:schemeClr val="accent4"/>
            </a:solidFill>
            <a:prstDash val="sysDash"/>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H="1">
            <a:off x="4039288" y="2491980"/>
            <a:ext cx="1" cy="637799"/>
          </a:xfrm>
          <a:prstGeom prst="line">
            <a:avLst/>
          </a:prstGeom>
          <a:ln w="28575" cmpd="sng">
            <a:solidFill>
              <a:schemeClr val="accent4"/>
            </a:solidFill>
            <a:prstDash val="sysDash"/>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H="1">
            <a:off x="5195355" y="1869237"/>
            <a:ext cx="1" cy="637799"/>
          </a:xfrm>
          <a:prstGeom prst="line">
            <a:avLst/>
          </a:prstGeom>
          <a:ln w="28575" cmpd="sng">
            <a:solidFill>
              <a:schemeClr val="accent4"/>
            </a:solidFill>
            <a:prstDash val="sysDash"/>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H="1">
            <a:off x="6518872" y="1879866"/>
            <a:ext cx="2058" cy="628721"/>
          </a:xfrm>
          <a:prstGeom prst="line">
            <a:avLst/>
          </a:prstGeom>
          <a:ln w="28575" cmpd="sng">
            <a:solidFill>
              <a:schemeClr val="accent4"/>
            </a:solidFill>
            <a:prstDash val="sysDash"/>
          </a:ln>
        </p:spPr>
        <p:style>
          <a:lnRef idx="2">
            <a:schemeClr val="accent1"/>
          </a:lnRef>
          <a:fillRef idx="0">
            <a:schemeClr val="accent1"/>
          </a:fillRef>
          <a:effectRef idx="1">
            <a:schemeClr val="accent1"/>
          </a:effectRef>
          <a:fontRef idx="minor">
            <a:schemeClr val="tx1"/>
          </a:fontRef>
        </p:style>
      </p:cxnSp>
      <p:sp>
        <p:nvSpPr>
          <p:cNvPr id="25612" name="TextBox 25611"/>
          <p:cNvSpPr txBox="1"/>
          <p:nvPr/>
        </p:nvSpPr>
        <p:spPr>
          <a:xfrm>
            <a:off x="756638" y="3555003"/>
            <a:ext cx="887977" cy="238207"/>
          </a:xfrm>
          <a:prstGeom prst="rect">
            <a:avLst/>
          </a:prstGeom>
          <a:noFill/>
        </p:spPr>
        <p:txBody>
          <a:bodyPr wrap="square" rtlCol="0">
            <a:spAutoFit/>
          </a:bodyPr>
          <a:lstStyle/>
          <a:p>
            <a:r>
              <a:rPr lang="en-US" sz="948" dirty="0"/>
              <a:t>Off-chain</a:t>
            </a:r>
          </a:p>
        </p:txBody>
      </p:sp>
      <p:sp>
        <p:nvSpPr>
          <p:cNvPr id="47" name="TextBox 46"/>
          <p:cNvSpPr txBox="1"/>
          <p:nvPr/>
        </p:nvSpPr>
        <p:spPr>
          <a:xfrm>
            <a:off x="756638" y="3983531"/>
            <a:ext cx="887977" cy="238207"/>
          </a:xfrm>
          <a:prstGeom prst="rect">
            <a:avLst/>
          </a:prstGeom>
          <a:noFill/>
        </p:spPr>
        <p:txBody>
          <a:bodyPr wrap="square" rtlCol="0">
            <a:spAutoFit/>
          </a:bodyPr>
          <a:lstStyle/>
          <a:p>
            <a:r>
              <a:rPr lang="en-US" sz="948" dirty="0"/>
              <a:t>On-chain</a:t>
            </a:r>
          </a:p>
        </p:txBody>
      </p:sp>
    </p:spTree>
    <p:extLst>
      <p:ext uri="{BB962C8B-B14F-4D97-AF65-F5344CB8AC3E}">
        <p14:creationId xmlns:p14="http://schemas.microsoft.com/office/powerpoint/2010/main" val="21582941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pplication Pattern Collection – Summary</a:t>
            </a:r>
          </a:p>
        </p:txBody>
      </p:sp>
      <p:sp>
        <p:nvSpPr>
          <p:cNvPr id="10" name="Slide Number Placeholder 9"/>
          <p:cNvSpPr>
            <a:spLocks noGrp="1"/>
          </p:cNvSpPr>
          <p:nvPr>
            <p:ph type="sldNum" sz="quarter" idx="11"/>
          </p:nvPr>
        </p:nvSpPr>
        <p:spPr/>
        <p:txBody>
          <a:bodyPr/>
          <a:lstStyle/>
          <a:p>
            <a:fld id="{FFF7CBAA-22EA-41CE-9725-C57ED0CEBC27}" type="slidenum">
              <a:rPr lang="en-AU" smtClean="0"/>
              <a:pPr/>
              <a:t>11</a:t>
            </a:fld>
            <a:r>
              <a:rPr lang="en-AU"/>
              <a:t>  |</a:t>
            </a:r>
            <a:endParaRPr lang="en-AU" dirty="0"/>
          </a:p>
        </p:txBody>
      </p:sp>
      <p:graphicFrame>
        <p:nvGraphicFramePr>
          <p:cNvPr id="5" name="Diagram 4"/>
          <p:cNvGraphicFramePr/>
          <p:nvPr/>
        </p:nvGraphicFramePr>
        <p:xfrm>
          <a:off x="323528" y="1459802"/>
          <a:ext cx="2592288" cy="36299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3364613" y="1391362"/>
          <a:ext cx="2701887" cy="377263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7" name="Diagram 6"/>
          <p:cNvGraphicFramePr/>
          <p:nvPr/>
        </p:nvGraphicFramePr>
        <p:xfrm>
          <a:off x="6348565" y="1391362"/>
          <a:ext cx="2497376" cy="355437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3" name="TextBox 2"/>
          <p:cNvSpPr txBox="1"/>
          <p:nvPr/>
        </p:nvSpPr>
        <p:spPr>
          <a:xfrm>
            <a:off x="319348" y="1134774"/>
            <a:ext cx="2600045" cy="313932"/>
          </a:xfrm>
          <a:prstGeom prst="rect">
            <a:avLst/>
          </a:prstGeom>
          <a:noFill/>
        </p:spPr>
        <p:txBody>
          <a:bodyPr wrap="square" rtlCol="0">
            <a:spAutoFit/>
          </a:bodyPr>
          <a:lstStyle/>
          <a:p>
            <a:pPr algn="ctr"/>
            <a:r>
              <a:rPr lang="en-US" sz="1440" b="1" dirty="0">
                <a:solidFill>
                  <a:srgbClr val="00A9CE"/>
                </a:solidFill>
              </a:rPr>
              <a:t>Interaction with External World</a:t>
            </a:r>
          </a:p>
        </p:txBody>
      </p:sp>
      <p:sp>
        <p:nvSpPr>
          <p:cNvPr id="8" name="TextBox 7"/>
          <p:cNvSpPr txBox="1"/>
          <p:nvPr/>
        </p:nvSpPr>
        <p:spPr>
          <a:xfrm>
            <a:off x="3367866" y="1138239"/>
            <a:ext cx="2698633" cy="300082"/>
          </a:xfrm>
          <a:prstGeom prst="rect">
            <a:avLst/>
          </a:prstGeom>
          <a:noFill/>
        </p:spPr>
        <p:txBody>
          <a:bodyPr wrap="square" rtlCol="0">
            <a:spAutoFit/>
          </a:bodyPr>
          <a:lstStyle/>
          <a:p>
            <a:pPr algn="ctr"/>
            <a:r>
              <a:rPr lang="en-US" sz="1350" b="1" dirty="0">
                <a:solidFill>
                  <a:srgbClr val="00A9CE"/>
                </a:solidFill>
              </a:rPr>
              <a:t>Data Management</a:t>
            </a:r>
          </a:p>
        </p:txBody>
      </p:sp>
      <p:sp>
        <p:nvSpPr>
          <p:cNvPr id="9" name="TextBox 8"/>
          <p:cNvSpPr txBox="1"/>
          <p:nvPr/>
        </p:nvSpPr>
        <p:spPr>
          <a:xfrm>
            <a:off x="6348565" y="1126442"/>
            <a:ext cx="2476089" cy="300082"/>
          </a:xfrm>
          <a:prstGeom prst="rect">
            <a:avLst/>
          </a:prstGeom>
          <a:noFill/>
        </p:spPr>
        <p:txBody>
          <a:bodyPr wrap="square" rtlCol="0">
            <a:spAutoFit/>
          </a:bodyPr>
          <a:lstStyle/>
          <a:p>
            <a:pPr algn="ctr"/>
            <a:r>
              <a:rPr lang="en-US" sz="1350" b="1" dirty="0">
                <a:solidFill>
                  <a:srgbClr val="00A9CE"/>
                </a:solidFill>
              </a:rPr>
              <a:t>Security</a:t>
            </a:r>
          </a:p>
        </p:txBody>
      </p:sp>
    </p:spTree>
    <p:extLst>
      <p:ext uri="{BB962C8B-B14F-4D97-AF65-F5344CB8AC3E}">
        <p14:creationId xmlns:p14="http://schemas.microsoft.com/office/powerpoint/2010/main" val="42791921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8000" y="287999"/>
            <a:ext cx="7780006" cy="438442"/>
          </a:xfrm>
        </p:spPr>
        <p:txBody>
          <a:bodyPr>
            <a:normAutofit fontScale="90000"/>
          </a:bodyPr>
          <a:lstStyle/>
          <a:p>
            <a:r>
              <a:rPr lang="en-US" dirty="0"/>
              <a:t>Application Pattern Collection – Summary (Cont.)</a:t>
            </a:r>
          </a:p>
        </p:txBody>
      </p:sp>
      <p:graphicFrame>
        <p:nvGraphicFramePr>
          <p:cNvPr id="5" name="Diagram 4"/>
          <p:cNvGraphicFramePr/>
          <p:nvPr/>
        </p:nvGraphicFramePr>
        <p:xfrm>
          <a:off x="467545" y="1417341"/>
          <a:ext cx="4021499" cy="37056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p:cNvGraphicFramePr/>
          <p:nvPr/>
        </p:nvGraphicFramePr>
        <p:xfrm>
          <a:off x="5148064" y="1508991"/>
          <a:ext cx="3423958" cy="19517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 name="TextBox 2"/>
          <p:cNvSpPr txBox="1"/>
          <p:nvPr/>
        </p:nvSpPr>
        <p:spPr>
          <a:xfrm>
            <a:off x="470997" y="1097753"/>
            <a:ext cx="4018046" cy="341632"/>
          </a:xfrm>
          <a:prstGeom prst="rect">
            <a:avLst/>
          </a:prstGeom>
          <a:noFill/>
        </p:spPr>
        <p:txBody>
          <a:bodyPr wrap="square" rtlCol="0">
            <a:spAutoFit/>
          </a:bodyPr>
          <a:lstStyle/>
          <a:p>
            <a:pPr algn="ctr"/>
            <a:r>
              <a:rPr lang="en-US" sz="1620" b="1" dirty="0">
                <a:solidFill>
                  <a:srgbClr val="00A9CE"/>
                </a:solidFill>
              </a:rPr>
              <a:t>Structural Patterns of Contract</a:t>
            </a:r>
          </a:p>
        </p:txBody>
      </p:sp>
      <p:sp>
        <p:nvSpPr>
          <p:cNvPr id="9" name="TextBox 8"/>
          <p:cNvSpPr txBox="1"/>
          <p:nvPr/>
        </p:nvSpPr>
        <p:spPr>
          <a:xfrm>
            <a:off x="4993224" y="1167358"/>
            <a:ext cx="3434782" cy="341632"/>
          </a:xfrm>
          <a:prstGeom prst="rect">
            <a:avLst/>
          </a:prstGeom>
          <a:noFill/>
        </p:spPr>
        <p:txBody>
          <a:bodyPr wrap="square" rtlCol="0">
            <a:spAutoFit/>
          </a:bodyPr>
          <a:lstStyle/>
          <a:p>
            <a:pPr algn="ctr"/>
            <a:r>
              <a:rPr lang="en-US" sz="1620" b="1" dirty="0">
                <a:solidFill>
                  <a:srgbClr val="00A9CE"/>
                </a:solidFill>
              </a:rPr>
              <a:t>Deployment</a:t>
            </a:r>
          </a:p>
        </p:txBody>
      </p:sp>
      <p:sp>
        <p:nvSpPr>
          <p:cNvPr id="6" name="Slide Number Placeholder 5"/>
          <p:cNvSpPr>
            <a:spLocks noGrp="1"/>
          </p:cNvSpPr>
          <p:nvPr>
            <p:ph type="sldNum" sz="quarter" idx="12"/>
          </p:nvPr>
        </p:nvSpPr>
        <p:spPr>
          <a:xfrm>
            <a:off x="253577" y="4878250"/>
            <a:ext cx="288789" cy="9551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F7CBAA-22EA-41CE-9725-C57ED0CEBC27}" type="slidenum">
              <a:rPr lang="en-AU" smtClean="0"/>
              <a:pPr/>
              <a:t>12</a:t>
            </a:fld>
            <a:r>
              <a:rPr lang="en-AU"/>
              <a:t>  |</a:t>
            </a:r>
            <a:endParaRPr lang="en-AU" dirty="0"/>
          </a:p>
        </p:txBody>
      </p:sp>
    </p:spTree>
    <p:extLst>
      <p:ext uri="{BB962C8B-B14F-4D97-AF65-F5344CB8AC3E}">
        <p14:creationId xmlns:p14="http://schemas.microsoft.com/office/powerpoint/2010/main" val="35352672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463" y="348532"/>
            <a:ext cx="3348034" cy="639365"/>
          </a:xfrm>
        </p:spPr>
        <p:txBody>
          <a:bodyPr>
            <a:normAutofit fontScale="90000"/>
          </a:bodyPr>
          <a:lstStyle/>
          <a:p>
            <a:r>
              <a:rPr lang="en-AU" dirty="0"/>
              <a:t>Smart Contract Patterns</a:t>
            </a:r>
          </a:p>
        </p:txBody>
      </p:sp>
      <p:sp>
        <p:nvSpPr>
          <p:cNvPr id="5" name="Slide Number Placeholder 4"/>
          <p:cNvSpPr>
            <a:spLocks noGrp="1"/>
          </p:cNvSpPr>
          <p:nvPr>
            <p:ph type="sldNum" sz="quarter" idx="11"/>
          </p:nvPr>
        </p:nvSpPr>
        <p:spPr/>
        <p:txBody>
          <a:bodyPr/>
          <a:lstStyle/>
          <a:p>
            <a:fld id="{FFF7CBAA-22EA-41CE-9725-C57ED0CEBC27}" type="slidenum">
              <a:rPr lang="en-AU" smtClean="0"/>
              <a:pPr/>
              <a:t>13</a:t>
            </a:fld>
            <a:r>
              <a:rPr lang="en-AU"/>
              <a:t>  |</a:t>
            </a:r>
            <a:endParaRPr lang="en-AU" dirty="0"/>
          </a:p>
        </p:txBody>
      </p:sp>
      <p:pic>
        <p:nvPicPr>
          <p:cNvPr id="3" name="Picture 2">
            <a:extLst>
              <a:ext uri="{FF2B5EF4-FFF2-40B4-BE49-F238E27FC236}">
                <a16:creationId xmlns:a16="http://schemas.microsoft.com/office/drawing/2014/main" id="{54A2AF8C-BD87-4EBC-A9D5-A9D9C6CEF33E}"/>
              </a:ext>
            </a:extLst>
          </p:cNvPr>
          <p:cNvPicPr>
            <a:picLocks noChangeAspect="1"/>
          </p:cNvPicPr>
          <p:nvPr/>
        </p:nvPicPr>
        <p:blipFill>
          <a:blip r:embed="rId3"/>
          <a:stretch>
            <a:fillRect/>
          </a:stretch>
        </p:blipFill>
        <p:spPr>
          <a:xfrm>
            <a:off x="3695106" y="553244"/>
            <a:ext cx="4869707" cy="4674852"/>
          </a:xfrm>
          <a:prstGeom prst="rect">
            <a:avLst/>
          </a:prstGeom>
        </p:spPr>
      </p:pic>
      <p:graphicFrame>
        <p:nvGraphicFramePr>
          <p:cNvPr id="7" name="Table 7">
            <a:extLst>
              <a:ext uri="{FF2B5EF4-FFF2-40B4-BE49-F238E27FC236}">
                <a16:creationId xmlns:a16="http://schemas.microsoft.com/office/drawing/2014/main" id="{C6D16924-298B-4D35-A173-0CC4488E495F}"/>
              </a:ext>
            </a:extLst>
          </p:cNvPr>
          <p:cNvGraphicFramePr>
            <a:graphicFrameLocks noGrp="1"/>
          </p:cNvGraphicFramePr>
          <p:nvPr/>
        </p:nvGraphicFramePr>
        <p:xfrm>
          <a:off x="179512" y="1705372"/>
          <a:ext cx="3045600" cy="2436876"/>
        </p:xfrm>
        <a:graphic>
          <a:graphicData uri="http://schemas.openxmlformats.org/drawingml/2006/table">
            <a:tbl>
              <a:tblPr firstRow="1" bandRow="1">
                <a:tableStyleId>{5C22544A-7EE6-4342-B048-85BDC9FD1C3A}</a:tableStyleId>
              </a:tblPr>
              <a:tblGrid>
                <a:gridCol w="1522800">
                  <a:extLst>
                    <a:ext uri="{9D8B030D-6E8A-4147-A177-3AD203B41FA5}">
                      <a16:colId xmlns:a16="http://schemas.microsoft.com/office/drawing/2014/main" val="3568809539"/>
                    </a:ext>
                  </a:extLst>
                </a:gridCol>
                <a:gridCol w="1522800">
                  <a:extLst>
                    <a:ext uri="{9D8B030D-6E8A-4147-A177-3AD203B41FA5}">
                      <a16:colId xmlns:a16="http://schemas.microsoft.com/office/drawing/2014/main" val="3362733617"/>
                    </a:ext>
                  </a:extLst>
                </a:gridCol>
              </a:tblGrid>
              <a:tr h="333756">
                <a:tc>
                  <a:txBody>
                    <a:bodyPr/>
                    <a:lstStyle/>
                    <a:p>
                      <a:pPr algn="ctr"/>
                      <a:r>
                        <a:rPr lang="en-AU" sz="1300" dirty="0"/>
                        <a:t>BC Pattern Name</a:t>
                      </a:r>
                    </a:p>
                  </a:txBody>
                  <a:tcPr marL="82296" marR="82296" marT="41148" marB="41148"/>
                </a:tc>
                <a:tc>
                  <a:txBody>
                    <a:bodyPr/>
                    <a:lstStyle/>
                    <a:p>
                      <a:pPr algn="ctr"/>
                      <a:r>
                        <a:rPr lang="en-AU" sz="1300" dirty="0"/>
                        <a:t>SC Pattern Name</a:t>
                      </a:r>
                    </a:p>
                  </a:txBody>
                  <a:tcPr marL="82296" marR="82296" marT="41148" marB="41148"/>
                </a:tc>
                <a:extLst>
                  <a:ext uri="{0D108BD9-81ED-4DB2-BD59-A6C34878D82A}">
                    <a16:rowId xmlns:a16="http://schemas.microsoft.com/office/drawing/2014/main" val="2098325046"/>
                  </a:ext>
                </a:extLst>
              </a:tr>
              <a:tr h="466344">
                <a:tc>
                  <a:txBody>
                    <a:bodyPr/>
                    <a:lstStyle/>
                    <a:p>
                      <a:r>
                        <a:rPr lang="en-AU" sz="1300" dirty="0"/>
                        <a:t>Dynamic Authorization</a:t>
                      </a:r>
                    </a:p>
                  </a:txBody>
                  <a:tcPr marL="82296" marR="82296" marT="41148" marB="41148"/>
                </a:tc>
                <a:tc>
                  <a:txBody>
                    <a:bodyPr/>
                    <a:lstStyle/>
                    <a:p>
                      <a:r>
                        <a:rPr lang="en-AU" sz="1300" dirty="0"/>
                        <a:t>Commit and Reveal</a:t>
                      </a:r>
                    </a:p>
                  </a:txBody>
                  <a:tcPr marL="82296" marR="82296" marT="41148" marB="41148"/>
                </a:tc>
                <a:extLst>
                  <a:ext uri="{0D108BD9-81ED-4DB2-BD59-A6C34878D82A}">
                    <a16:rowId xmlns:a16="http://schemas.microsoft.com/office/drawing/2014/main" val="1154245334"/>
                  </a:ext>
                </a:extLst>
              </a:tr>
              <a:tr h="466344">
                <a:tc>
                  <a:txBody>
                    <a:bodyPr/>
                    <a:lstStyle/>
                    <a:p>
                      <a:r>
                        <a:rPr lang="en-AU" sz="1300" dirty="0"/>
                        <a:t>Centralized/Decentralized Oracle</a:t>
                      </a:r>
                    </a:p>
                  </a:txBody>
                  <a:tcPr marL="82296" marR="82296" marT="41148" marB="41148"/>
                </a:tc>
                <a:tc>
                  <a:txBody>
                    <a:bodyPr/>
                    <a:lstStyle/>
                    <a:p>
                      <a:r>
                        <a:rPr lang="en-AU" sz="1300" dirty="0"/>
                        <a:t>Oracle (Data Provider)</a:t>
                      </a:r>
                    </a:p>
                  </a:txBody>
                  <a:tcPr marL="82296" marR="82296" marT="41148" marB="41148"/>
                </a:tc>
                <a:extLst>
                  <a:ext uri="{0D108BD9-81ED-4DB2-BD59-A6C34878D82A}">
                    <a16:rowId xmlns:a16="http://schemas.microsoft.com/office/drawing/2014/main" val="1177087040"/>
                  </a:ext>
                </a:extLst>
              </a:tr>
              <a:tr h="333756">
                <a:tc>
                  <a:txBody>
                    <a:bodyPr/>
                    <a:lstStyle/>
                    <a:p>
                      <a:r>
                        <a:rPr lang="en-AU" sz="1300" dirty="0"/>
                        <a:t>Data Contract</a:t>
                      </a:r>
                    </a:p>
                  </a:txBody>
                  <a:tcPr marL="82296" marR="82296" marT="41148" marB="41148"/>
                </a:tc>
                <a:tc>
                  <a:txBody>
                    <a:bodyPr/>
                    <a:lstStyle/>
                    <a:p>
                      <a:r>
                        <a:rPr lang="en-AU" sz="1300" dirty="0"/>
                        <a:t>Data Segregation</a:t>
                      </a:r>
                    </a:p>
                  </a:txBody>
                  <a:tcPr marL="82296" marR="82296" marT="41148" marB="41148"/>
                </a:tc>
                <a:extLst>
                  <a:ext uri="{0D108BD9-81ED-4DB2-BD59-A6C34878D82A}">
                    <a16:rowId xmlns:a16="http://schemas.microsoft.com/office/drawing/2014/main" val="1926964871"/>
                  </a:ext>
                </a:extLst>
              </a:tr>
              <a:tr h="466344">
                <a:tc>
                  <a:txBody>
                    <a:bodyPr/>
                    <a:lstStyle/>
                    <a:p>
                      <a:r>
                        <a:rPr lang="en-AU" sz="1300" dirty="0"/>
                        <a:t>Contract Registry (within a contract)</a:t>
                      </a:r>
                    </a:p>
                  </a:txBody>
                  <a:tcPr marL="82296" marR="82296" marT="41148" marB="41148"/>
                </a:tc>
                <a:tc>
                  <a:txBody>
                    <a:bodyPr/>
                    <a:lstStyle/>
                    <a:p>
                      <a:r>
                        <a:rPr lang="en-AU" sz="1300" dirty="0"/>
                        <a:t>Satellite</a:t>
                      </a:r>
                    </a:p>
                  </a:txBody>
                  <a:tcPr marL="82296" marR="82296" marT="41148" marB="41148"/>
                </a:tc>
                <a:extLst>
                  <a:ext uri="{0D108BD9-81ED-4DB2-BD59-A6C34878D82A}">
                    <a16:rowId xmlns:a16="http://schemas.microsoft.com/office/drawing/2014/main" val="1779764445"/>
                  </a:ext>
                </a:extLst>
              </a:tr>
              <a:tr h="333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300" dirty="0"/>
                        <a:t>Contract Registry</a:t>
                      </a:r>
                    </a:p>
                  </a:txBody>
                  <a:tcPr marL="82296" marR="82296" marT="41148" marB="41148"/>
                </a:tc>
                <a:tc>
                  <a:txBody>
                    <a:bodyPr/>
                    <a:lstStyle/>
                    <a:p>
                      <a:r>
                        <a:rPr lang="en-AU" sz="1300" dirty="0"/>
                        <a:t>Contract Register</a:t>
                      </a:r>
                    </a:p>
                  </a:txBody>
                  <a:tcPr marL="82296" marR="82296" marT="41148" marB="41148"/>
                </a:tc>
                <a:extLst>
                  <a:ext uri="{0D108BD9-81ED-4DB2-BD59-A6C34878D82A}">
                    <a16:rowId xmlns:a16="http://schemas.microsoft.com/office/drawing/2014/main" val="4097462351"/>
                  </a:ext>
                </a:extLst>
              </a:tr>
            </a:tbl>
          </a:graphicData>
        </a:graphic>
      </p:graphicFrame>
      <p:sp>
        <p:nvSpPr>
          <p:cNvPr id="6" name="TextBox 5">
            <a:extLst>
              <a:ext uri="{FF2B5EF4-FFF2-40B4-BE49-F238E27FC236}">
                <a16:creationId xmlns:a16="http://schemas.microsoft.com/office/drawing/2014/main" id="{F29551B5-029E-33FC-B30B-D1447C755F2A}"/>
              </a:ext>
            </a:extLst>
          </p:cNvPr>
          <p:cNvSpPr txBox="1"/>
          <p:nvPr/>
        </p:nvSpPr>
        <p:spPr>
          <a:xfrm>
            <a:off x="154266" y="4513684"/>
            <a:ext cx="3348034" cy="600164"/>
          </a:xfrm>
          <a:prstGeom prst="rect">
            <a:avLst/>
          </a:prstGeom>
          <a:noFill/>
        </p:spPr>
        <p:txBody>
          <a:bodyPr wrap="square">
            <a:spAutoFit/>
          </a:bodyPr>
          <a:lstStyle/>
          <a:p>
            <a:r>
              <a:rPr lang="en-AU" sz="1100" dirty="0"/>
              <a:t>Maximilian </a:t>
            </a:r>
            <a:r>
              <a:rPr lang="en-AU" sz="1100" dirty="0" err="1"/>
              <a:t>Wöhrer</a:t>
            </a:r>
            <a:r>
              <a:rPr lang="en-AU" sz="1100" dirty="0"/>
              <a:t> and Uwe Zdun, “Design patterns for smart contracts in the Ethereum ecosystem,” IEEE </a:t>
            </a:r>
            <a:r>
              <a:rPr lang="en-AU" sz="1100" dirty="0" err="1"/>
              <a:t>iThings</a:t>
            </a:r>
            <a:r>
              <a:rPr lang="en-AU" sz="1100" dirty="0"/>
              <a:t>, </a:t>
            </a:r>
            <a:r>
              <a:rPr lang="en-AU" sz="1100" dirty="0" err="1"/>
              <a:t>GreenCom</a:t>
            </a:r>
            <a:r>
              <a:rPr lang="en-AU" sz="1100" dirty="0"/>
              <a:t>, </a:t>
            </a:r>
            <a:r>
              <a:rPr lang="en-AU" sz="1100" dirty="0" err="1"/>
              <a:t>CPSCom</a:t>
            </a:r>
            <a:r>
              <a:rPr lang="en-AU" sz="1100" dirty="0"/>
              <a:t>, and </a:t>
            </a:r>
            <a:r>
              <a:rPr lang="en-AU" sz="1100" dirty="0" err="1"/>
              <a:t>SmartData</a:t>
            </a:r>
            <a:r>
              <a:rPr lang="en-AU" sz="1100" dirty="0"/>
              <a:t>. 2018.</a:t>
            </a:r>
          </a:p>
        </p:txBody>
      </p:sp>
    </p:spTree>
    <p:extLst>
      <p:ext uri="{BB962C8B-B14F-4D97-AF65-F5344CB8AC3E}">
        <p14:creationId xmlns:p14="http://schemas.microsoft.com/office/powerpoint/2010/main" val="2118515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AF036-5F5B-7075-80FA-BA358FA55C7E}"/>
              </a:ext>
            </a:extLst>
          </p:cNvPr>
          <p:cNvSpPr>
            <a:spLocks noGrp="1"/>
          </p:cNvSpPr>
          <p:nvPr>
            <p:ph type="title"/>
          </p:nvPr>
        </p:nvSpPr>
        <p:spPr/>
        <p:txBody>
          <a:bodyPr/>
          <a:lstStyle/>
          <a:p>
            <a:r>
              <a:rPr lang="en-AU" dirty="0"/>
              <a:t>Token Patterns</a:t>
            </a:r>
          </a:p>
        </p:txBody>
      </p:sp>
      <p:sp>
        <p:nvSpPr>
          <p:cNvPr id="3" name="Slide Number Placeholder 2">
            <a:extLst>
              <a:ext uri="{FF2B5EF4-FFF2-40B4-BE49-F238E27FC236}">
                <a16:creationId xmlns:a16="http://schemas.microsoft.com/office/drawing/2014/main" id="{F9785F2E-8790-F353-8A3B-170AFA3A39FD}"/>
              </a:ext>
            </a:extLst>
          </p:cNvPr>
          <p:cNvSpPr>
            <a:spLocks noGrp="1"/>
          </p:cNvSpPr>
          <p:nvPr>
            <p:ph type="sldNum" sz="quarter" idx="11"/>
          </p:nvPr>
        </p:nvSpPr>
        <p:spPr/>
        <p:txBody>
          <a:bodyPr/>
          <a:lstStyle/>
          <a:p>
            <a:fld id="{2ABE124A-B5C5-46E0-B944-45307B126769}" type="slidenum">
              <a:rPr lang="en-AU" smtClean="0"/>
              <a:pPr/>
              <a:t>14</a:t>
            </a:fld>
            <a:r>
              <a:rPr lang="en-AU"/>
              <a:t>  |</a:t>
            </a:r>
            <a:endParaRPr lang="en-AU" dirty="0"/>
          </a:p>
        </p:txBody>
      </p:sp>
      <p:pic>
        <p:nvPicPr>
          <p:cNvPr id="1026" name="Picture 2">
            <a:extLst>
              <a:ext uri="{FF2B5EF4-FFF2-40B4-BE49-F238E27FC236}">
                <a16:creationId xmlns:a16="http://schemas.microsoft.com/office/drawing/2014/main" id="{0669565F-D4A5-3582-9EF8-5F4A22839B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28" y="1201316"/>
            <a:ext cx="8640000" cy="33165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FEA8612-68F0-7A5B-9054-842D0553CC44}"/>
              </a:ext>
            </a:extLst>
          </p:cNvPr>
          <p:cNvSpPr txBox="1"/>
          <p:nvPr/>
        </p:nvSpPr>
        <p:spPr>
          <a:xfrm>
            <a:off x="1547664" y="4620239"/>
            <a:ext cx="4596062" cy="307777"/>
          </a:xfrm>
          <a:prstGeom prst="rect">
            <a:avLst/>
          </a:prstGeom>
          <a:noFill/>
        </p:spPr>
        <p:txBody>
          <a:bodyPr wrap="square">
            <a:spAutoFit/>
          </a:bodyPr>
          <a:lstStyle/>
          <a:p>
            <a:r>
              <a:rPr lang="en-AU" sz="1400" dirty="0"/>
              <a:t>See </a:t>
            </a:r>
            <a:r>
              <a:rPr lang="en-AU" sz="1400" dirty="0">
                <a:hlinkClick r:id="rId4"/>
              </a:rPr>
              <a:t>https://research.csiro.au/blockchainpatterns/</a:t>
            </a:r>
            <a:r>
              <a:rPr lang="en-AU" sz="1400" dirty="0"/>
              <a:t> </a:t>
            </a:r>
          </a:p>
        </p:txBody>
      </p:sp>
    </p:spTree>
    <p:extLst>
      <p:ext uri="{BB962C8B-B14F-4D97-AF65-F5344CB8AC3E}">
        <p14:creationId xmlns:p14="http://schemas.microsoft.com/office/powerpoint/2010/main" val="26598502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Factory Contract Pattern</a:t>
            </a:r>
          </a:p>
        </p:txBody>
      </p:sp>
      <p:sp>
        <p:nvSpPr>
          <p:cNvPr id="3" name="Content Placeholder 2"/>
          <p:cNvSpPr>
            <a:spLocks noGrp="1"/>
          </p:cNvSpPr>
          <p:nvPr>
            <p:ph idx="1"/>
          </p:nvPr>
        </p:nvSpPr>
        <p:spPr>
          <a:xfrm>
            <a:off x="647999" y="1182694"/>
            <a:ext cx="7923433" cy="3907055"/>
          </a:xfrm>
        </p:spPr>
        <p:txBody>
          <a:bodyPr numCol="2">
            <a:normAutofit fontScale="92500" lnSpcReduction="20000"/>
          </a:bodyPr>
          <a:lstStyle/>
          <a:p>
            <a:r>
              <a:rPr lang="en-US" sz="2000" dirty="0">
                <a:solidFill>
                  <a:schemeClr val="accent1"/>
                </a:solidFill>
              </a:rPr>
              <a:t>Summary</a:t>
            </a:r>
            <a:r>
              <a:rPr lang="en-US" sz="2000" dirty="0"/>
              <a:t> </a:t>
            </a:r>
          </a:p>
          <a:p>
            <a:pPr lvl="1"/>
            <a:r>
              <a:rPr lang="en-US" sz="2000" dirty="0"/>
              <a:t>Use an on-chain contract as a factory to spawn contract instances from a SC template</a:t>
            </a:r>
          </a:p>
          <a:p>
            <a:r>
              <a:rPr lang="en-US" sz="2000" dirty="0">
                <a:solidFill>
                  <a:srgbClr val="00A9CE"/>
                </a:solidFill>
              </a:rPr>
              <a:t>Context</a:t>
            </a:r>
          </a:p>
          <a:p>
            <a:pPr lvl="1"/>
            <a:r>
              <a:rPr lang="en-US" sz="2000" dirty="0"/>
              <a:t>Blockchain application needs to use multiple SCs with similar functionality but different data </a:t>
            </a:r>
          </a:p>
          <a:p>
            <a:pPr lvl="1"/>
            <a:r>
              <a:rPr lang="en-US" sz="2000" dirty="0"/>
              <a:t>Contract instance is created by instantiating a contract template</a:t>
            </a:r>
          </a:p>
          <a:p>
            <a:pPr lvl="1"/>
            <a:r>
              <a:rPr lang="en-US" sz="2000" dirty="0"/>
              <a:t>Stored off-chain in a code repository</a:t>
            </a:r>
          </a:p>
          <a:p>
            <a:r>
              <a:rPr lang="en-US" sz="2000" dirty="0">
                <a:solidFill>
                  <a:srgbClr val="00A9CE"/>
                </a:solidFill>
              </a:rPr>
              <a:t>Problem</a:t>
            </a:r>
          </a:p>
          <a:p>
            <a:pPr lvl="1"/>
            <a:r>
              <a:rPr lang="en-US" sz="2000" dirty="0"/>
              <a:t>How can we ensure all SC instances follow the same contract template? </a:t>
            </a:r>
          </a:p>
          <a:p>
            <a:r>
              <a:rPr lang="en-US" sz="2000" dirty="0">
                <a:solidFill>
                  <a:srgbClr val="00A9CE"/>
                </a:solidFill>
              </a:rPr>
              <a:t>Forces</a:t>
            </a:r>
          </a:p>
          <a:p>
            <a:pPr lvl="1"/>
            <a:r>
              <a:rPr lang="en-US" sz="2000" dirty="0"/>
              <a:t>Integrity – Off-chain contract template can’t guarantee consistency between different SC instances</a:t>
            </a:r>
          </a:p>
          <a:p>
            <a:pPr lvl="1"/>
            <a:r>
              <a:rPr lang="en-US" sz="2000" dirty="0"/>
              <a:t>Dependency management – Storing SC off-chain introduces more components</a:t>
            </a:r>
          </a:p>
          <a:p>
            <a:pPr lvl="1"/>
            <a:r>
              <a:rPr lang="en-US" sz="2000" dirty="0"/>
              <a:t>Deployment – Extra effort is needed to deploy a SC from off-chain source code</a:t>
            </a:r>
          </a:p>
          <a:p>
            <a:pPr lvl="1"/>
            <a:r>
              <a:rPr lang="en-US" sz="2000" dirty="0"/>
              <a:t>Secure code sharing – Blockchain is a secure platform for sharing contract code</a:t>
            </a:r>
          </a:p>
        </p:txBody>
      </p:sp>
      <p:sp>
        <p:nvSpPr>
          <p:cNvPr id="6" name="Slide Number Placeholder 5"/>
          <p:cNvSpPr>
            <a:spLocks noGrp="1"/>
          </p:cNvSpPr>
          <p:nvPr>
            <p:ph type="sldNum" sz="quarter" idx="12"/>
          </p:nvPr>
        </p:nvSpPr>
        <p:spPr>
          <a:xfrm>
            <a:off x="253577" y="4878250"/>
            <a:ext cx="288789" cy="9551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F7CBAA-22EA-41CE-9725-C57ED0CEBC27}" type="slidenum">
              <a:rPr lang="en-AU" smtClean="0"/>
              <a:pPr/>
              <a:t>15</a:t>
            </a:fld>
            <a:r>
              <a:rPr lang="en-AU"/>
              <a:t>  |</a:t>
            </a:r>
            <a:endParaRPr lang="en-AU" dirty="0"/>
          </a:p>
        </p:txBody>
      </p:sp>
    </p:spTree>
    <p:extLst>
      <p:ext uri="{BB962C8B-B14F-4D97-AF65-F5344CB8AC3E}">
        <p14:creationId xmlns:p14="http://schemas.microsoft.com/office/powerpoint/2010/main" val="40018832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FactoryContract.pdf">
            <a:extLst>
              <a:ext uri="{FF2B5EF4-FFF2-40B4-BE49-F238E27FC236}">
                <a16:creationId xmlns:a16="http://schemas.microsoft.com/office/drawing/2014/main" id="{C02A25A0-A936-BB66-AD33-11E9517C32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0493" y="193500"/>
            <a:ext cx="2532000" cy="2664000"/>
          </a:xfrm>
          <a:prstGeom prst="rect">
            <a:avLst/>
          </a:prstGeom>
        </p:spPr>
      </p:pic>
      <p:sp>
        <p:nvSpPr>
          <p:cNvPr id="2" name="Title 1"/>
          <p:cNvSpPr>
            <a:spLocks noGrp="1"/>
          </p:cNvSpPr>
          <p:nvPr>
            <p:ph type="title"/>
          </p:nvPr>
        </p:nvSpPr>
        <p:spPr/>
        <p:txBody>
          <a:bodyPr>
            <a:normAutofit fontScale="90000"/>
          </a:bodyPr>
          <a:lstStyle/>
          <a:p>
            <a:r>
              <a:rPr lang="en-US" dirty="0"/>
              <a:t>Factory Contract (Cont.)</a:t>
            </a:r>
          </a:p>
        </p:txBody>
      </p:sp>
      <p:sp>
        <p:nvSpPr>
          <p:cNvPr id="3" name="Content Placeholder 2"/>
          <p:cNvSpPr>
            <a:spLocks noGrp="1"/>
          </p:cNvSpPr>
          <p:nvPr>
            <p:ph idx="1"/>
          </p:nvPr>
        </p:nvSpPr>
        <p:spPr>
          <a:xfrm>
            <a:off x="647999" y="1182694"/>
            <a:ext cx="7897795" cy="3907055"/>
          </a:xfrm>
        </p:spPr>
        <p:txBody>
          <a:bodyPr numCol="2">
            <a:noAutofit/>
          </a:bodyPr>
          <a:lstStyle/>
          <a:p>
            <a:r>
              <a:rPr lang="en-US" altLang="zh-CN" sz="1800" dirty="0">
                <a:solidFill>
                  <a:srgbClr val="00A9CE"/>
                </a:solidFill>
              </a:rPr>
              <a:t>Solution</a:t>
            </a:r>
          </a:p>
          <a:p>
            <a:pPr lvl="1"/>
            <a:r>
              <a:rPr lang="en-US" sz="1800" dirty="0"/>
              <a:t>Factory contract embedding template contract is deployed once from off-chain source code</a:t>
            </a:r>
          </a:p>
          <a:p>
            <a:pPr lvl="1"/>
            <a:r>
              <a:rPr lang="en-US" sz="1800" dirty="0"/>
              <a:t>SC instances are generated by passing parameters to factory contract to deploy </a:t>
            </a:r>
            <a:r>
              <a:rPr lang="en-US" sz="1800" dirty="0" err="1"/>
              <a:t>customised</a:t>
            </a:r>
            <a:r>
              <a:rPr lang="en-US" sz="1800" dirty="0"/>
              <a:t> instances</a:t>
            </a:r>
          </a:p>
          <a:p>
            <a:r>
              <a:rPr lang="en-US" sz="1800" dirty="0">
                <a:solidFill>
                  <a:srgbClr val="00A9CE"/>
                </a:solidFill>
              </a:rPr>
              <a:t>Consequences</a:t>
            </a:r>
          </a:p>
          <a:p>
            <a:pPr lvl="1"/>
            <a:r>
              <a:rPr lang="en-US" sz="1800" dirty="0"/>
              <a:t>Integrity – On-chain factory contract guarantees consistency</a:t>
            </a:r>
          </a:p>
          <a:p>
            <a:pPr lvl="1"/>
            <a:r>
              <a:rPr lang="en-US" sz="1800" dirty="0"/>
              <a:t>Efficiency – SC instances are generated by calling a function</a:t>
            </a:r>
          </a:p>
          <a:p>
            <a:pPr lvl="1"/>
            <a:r>
              <a:rPr lang="en-US" sz="1800" dirty="0"/>
              <a:t>Cost – TX fees on public blockchain to deploy &amp; invoke factory contract</a:t>
            </a:r>
          </a:p>
          <a:p>
            <a:endParaRPr lang="en-US" sz="1800" dirty="0">
              <a:solidFill>
                <a:srgbClr val="00A9CE"/>
              </a:solidFill>
            </a:endParaRPr>
          </a:p>
          <a:p>
            <a:endParaRPr lang="en-US" sz="1800" dirty="0">
              <a:solidFill>
                <a:srgbClr val="00A9CE"/>
              </a:solidFill>
            </a:endParaRPr>
          </a:p>
          <a:p>
            <a:endParaRPr lang="en-US" sz="1800" dirty="0">
              <a:solidFill>
                <a:srgbClr val="00A9CE"/>
              </a:solidFill>
            </a:endParaRPr>
          </a:p>
          <a:p>
            <a:endParaRPr lang="en-US" sz="1800" dirty="0">
              <a:solidFill>
                <a:srgbClr val="00A9CE"/>
              </a:solidFill>
            </a:endParaRPr>
          </a:p>
          <a:p>
            <a:r>
              <a:rPr lang="en-US" sz="1800" dirty="0">
                <a:solidFill>
                  <a:srgbClr val="00A9CE"/>
                </a:solidFill>
              </a:rPr>
              <a:t>Related Patterns </a:t>
            </a:r>
          </a:p>
          <a:p>
            <a:pPr lvl="1"/>
            <a:r>
              <a:rPr lang="en-US" sz="1800" dirty="0"/>
              <a:t>Contract registry</a:t>
            </a:r>
          </a:p>
          <a:p>
            <a:r>
              <a:rPr lang="en-US" sz="1800" dirty="0">
                <a:solidFill>
                  <a:srgbClr val="00A9CE"/>
                </a:solidFill>
              </a:rPr>
              <a:t>Known uses</a:t>
            </a:r>
          </a:p>
          <a:p>
            <a:pPr lvl="1"/>
            <a:r>
              <a:rPr lang="en-US" sz="1800" dirty="0"/>
              <a:t>Tutorial from Ethereum developer</a:t>
            </a:r>
          </a:p>
          <a:p>
            <a:pPr lvl="1"/>
            <a:r>
              <a:rPr lang="en-US" sz="1800" dirty="0"/>
              <a:t>Applied in a real-world blockchain-based health care application</a:t>
            </a:r>
          </a:p>
          <a:p>
            <a:pPr lvl="1"/>
            <a:r>
              <a:rPr lang="en-US" sz="1800" dirty="0"/>
              <a:t>Business process management system using factory to spawn process instances</a:t>
            </a:r>
          </a:p>
        </p:txBody>
      </p:sp>
      <p:sp>
        <p:nvSpPr>
          <p:cNvPr id="6" name="Slide Number Placeholder 5"/>
          <p:cNvSpPr>
            <a:spLocks noGrp="1"/>
          </p:cNvSpPr>
          <p:nvPr>
            <p:ph type="sldNum" sz="quarter" idx="12"/>
          </p:nvPr>
        </p:nvSpPr>
        <p:spPr>
          <a:xfrm>
            <a:off x="253577" y="4878250"/>
            <a:ext cx="288789" cy="9551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F7CBAA-22EA-41CE-9725-C57ED0CEBC27}" type="slidenum">
              <a:rPr lang="en-AU" smtClean="0"/>
              <a:pPr/>
              <a:t>16</a:t>
            </a:fld>
            <a:r>
              <a:rPr lang="en-AU"/>
              <a:t>  |</a:t>
            </a:r>
            <a:endParaRPr lang="en-AU" dirty="0"/>
          </a:p>
        </p:txBody>
      </p:sp>
    </p:spTree>
    <p:extLst>
      <p:ext uri="{BB962C8B-B14F-4D97-AF65-F5344CB8AC3E}">
        <p14:creationId xmlns:p14="http://schemas.microsoft.com/office/powerpoint/2010/main" val="3709445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tract Registry Pattern</a:t>
            </a:r>
          </a:p>
        </p:txBody>
      </p:sp>
      <p:sp>
        <p:nvSpPr>
          <p:cNvPr id="3" name="Content Placeholder 2"/>
          <p:cNvSpPr>
            <a:spLocks noGrp="1"/>
          </p:cNvSpPr>
          <p:nvPr>
            <p:ph idx="1"/>
          </p:nvPr>
        </p:nvSpPr>
        <p:spPr>
          <a:xfrm>
            <a:off x="648000" y="1167359"/>
            <a:ext cx="7914886" cy="4088009"/>
          </a:xfrm>
        </p:spPr>
        <p:txBody>
          <a:bodyPr numCol="2">
            <a:normAutofit/>
          </a:bodyPr>
          <a:lstStyle/>
          <a:p>
            <a:r>
              <a:rPr lang="en-US" sz="1800" dirty="0">
                <a:solidFill>
                  <a:schemeClr val="accent1"/>
                </a:solidFill>
              </a:rPr>
              <a:t>Summary</a:t>
            </a:r>
            <a:r>
              <a:rPr lang="en-US" sz="1800" dirty="0"/>
              <a:t> </a:t>
            </a:r>
          </a:p>
          <a:p>
            <a:pPr lvl="1"/>
            <a:r>
              <a:rPr lang="en-US" sz="1800" dirty="0"/>
              <a:t>Before invoking a SC, lookup contract name to find address of the latest contract instance</a:t>
            </a:r>
          </a:p>
          <a:p>
            <a:r>
              <a:rPr lang="en-US" sz="1800" dirty="0">
                <a:solidFill>
                  <a:srgbClr val="00A9CE"/>
                </a:solidFill>
              </a:rPr>
              <a:t>Context</a:t>
            </a:r>
          </a:p>
          <a:p>
            <a:pPr lvl="1"/>
            <a:r>
              <a:rPr lang="en-US" sz="1800" dirty="0"/>
              <a:t>Blockchain-based applications need to be upgraded to new versions</a:t>
            </a:r>
          </a:p>
          <a:p>
            <a:pPr lvl="2"/>
            <a:r>
              <a:rPr lang="en-US" sz="1800" dirty="0"/>
              <a:t> Fix bugs or fulfil new requirements</a:t>
            </a:r>
          </a:p>
          <a:p>
            <a:r>
              <a:rPr lang="en-US" sz="1800" dirty="0">
                <a:solidFill>
                  <a:srgbClr val="00A9CE"/>
                </a:solidFill>
              </a:rPr>
              <a:t>Problem</a:t>
            </a:r>
          </a:p>
          <a:p>
            <a:pPr lvl="1"/>
            <a:r>
              <a:rPr lang="en-US" sz="1800" dirty="0">
                <a:solidFill>
                  <a:srgbClr val="000000"/>
                </a:solidFill>
              </a:rPr>
              <a:t>How to reach the latest version of smart contracts?</a:t>
            </a:r>
          </a:p>
          <a:p>
            <a:r>
              <a:rPr lang="en-US" sz="1800" dirty="0">
                <a:solidFill>
                  <a:srgbClr val="00A9CE"/>
                </a:solidFill>
              </a:rPr>
              <a:t>Forces</a:t>
            </a:r>
          </a:p>
          <a:p>
            <a:pPr lvl="1"/>
            <a:r>
              <a:rPr lang="en-US" sz="1800" dirty="0"/>
              <a:t>Immutability – On-chain SC code is immutable</a:t>
            </a:r>
          </a:p>
          <a:p>
            <a:pPr lvl="1"/>
            <a:r>
              <a:rPr lang="en-US" sz="1800" dirty="0"/>
              <a:t>Upgradability – Fundamental need to upgrade SCs</a:t>
            </a:r>
          </a:p>
          <a:p>
            <a:pPr lvl="1"/>
            <a:r>
              <a:rPr lang="en-US" sz="1800" dirty="0"/>
              <a:t>Human-readable identifier – SC addresses aren’t human-readable</a:t>
            </a:r>
          </a:p>
        </p:txBody>
      </p:sp>
      <p:sp>
        <p:nvSpPr>
          <p:cNvPr id="6" name="Slide Number Placeholder 5"/>
          <p:cNvSpPr>
            <a:spLocks noGrp="1"/>
          </p:cNvSpPr>
          <p:nvPr>
            <p:ph type="sldNum" sz="quarter" idx="12"/>
          </p:nvPr>
        </p:nvSpPr>
        <p:spPr>
          <a:xfrm>
            <a:off x="253577" y="4878250"/>
            <a:ext cx="288789" cy="9551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F7CBAA-22EA-41CE-9725-C57ED0CEBC27}" type="slidenum">
              <a:rPr lang="en-AU" smtClean="0"/>
              <a:pPr/>
              <a:t>17</a:t>
            </a:fld>
            <a:r>
              <a:rPr lang="en-AU"/>
              <a:t>  |</a:t>
            </a:r>
            <a:endParaRPr lang="en-AU" dirty="0"/>
          </a:p>
        </p:txBody>
      </p:sp>
      <p:pic>
        <p:nvPicPr>
          <p:cNvPr id="4" name="Picture 3" descr="RegistryContract.pdf">
            <a:extLst>
              <a:ext uri="{FF2B5EF4-FFF2-40B4-BE49-F238E27FC236}">
                <a16:creationId xmlns:a16="http://schemas.microsoft.com/office/drawing/2014/main" id="{C8383A6C-4205-F6D8-94A5-D492D2FC8D53}"/>
              </a:ext>
            </a:extLst>
          </p:cNvPr>
          <p:cNvPicPr>
            <a:picLocks noChangeAspect="1"/>
          </p:cNvPicPr>
          <p:nvPr/>
        </p:nvPicPr>
        <p:blipFill rotWithShape="1">
          <a:blip r:embed="rId3">
            <a:extLst>
              <a:ext uri="{28A0092B-C50C-407E-A947-70E740481C1C}">
                <a14:useLocalDpi xmlns:a14="http://schemas.microsoft.com/office/drawing/2010/main" val="0"/>
              </a:ext>
            </a:extLst>
          </a:blip>
          <a:srcRect b="7642"/>
          <a:stretch/>
        </p:blipFill>
        <p:spPr>
          <a:xfrm>
            <a:off x="5289132" y="2822992"/>
            <a:ext cx="3068655" cy="2432376"/>
          </a:xfrm>
          <a:prstGeom prst="rect">
            <a:avLst/>
          </a:prstGeom>
        </p:spPr>
      </p:pic>
    </p:spTree>
    <p:extLst>
      <p:ext uri="{BB962C8B-B14F-4D97-AF65-F5344CB8AC3E}">
        <p14:creationId xmlns:p14="http://schemas.microsoft.com/office/powerpoint/2010/main" val="8991094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20486" y="1224855"/>
            <a:ext cx="7835966" cy="1618479"/>
          </a:xfrm>
        </p:spPr>
        <p:txBody>
          <a:bodyPr>
            <a:normAutofit/>
          </a:bodyPr>
          <a:lstStyle/>
          <a:p>
            <a:pPr lvl="1"/>
            <a:endParaRPr lang="en-US" dirty="0"/>
          </a:p>
          <a:p>
            <a:pPr lvl="1"/>
            <a:endParaRPr lang="en-US" b="1" dirty="0">
              <a:solidFill>
                <a:schemeClr val="accent1"/>
              </a:solidFill>
            </a:endParaRPr>
          </a:p>
        </p:txBody>
      </p:sp>
      <p:sp>
        <p:nvSpPr>
          <p:cNvPr id="7" name="Content Placeholder 2"/>
          <p:cNvSpPr txBox="1">
            <a:spLocks/>
          </p:cNvSpPr>
          <p:nvPr/>
        </p:nvSpPr>
        <p:spPr>
          <a:xfrm>
            <a:off x="647999" y="1167359"/>
            <a:ext cx="7908453" cy="4132278"/>
          </a:xfrm>
          <a:prstGeom prst="rect">
            <a:avLst/>
          </a:prstGeom>
        </p:spPr>
        <p:txBody>
          <a:bodyPr vert="horz" lIns="61722" tIns="30861" rIns="61722" bIns="30861" numCol="2"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266700" indent="-266700" algn="l" defTabSz="914400" rtl="0" eaLnBrk="1" latinLnBrk="0" hangingPunct="1">
              <a:lnSpc>
                <a:spcPct val="90000"/>
              </a:lnSpc>
              <a:spcBef>
                <a:spcPts val="500"/>
              </a:spcBef>
              <a:buClr>
                <a:schemeClr val="accent1"/>
              </a:buClr>
              <a:buFont typeface="TheSansB W3 Light" panose="020B0302050302020203" pitchFamily="34" charset="0"/>
              <a:buChar char="-"/>
              <a:defRPr sz="2000" kern="1200">
                <a:solidFill>
                  <a:schemeClr val="tx1"/>
                </a:solidFill>
                <a:latin typeface="+mn-lt"/>
                <a:ea typeface="+mn-ea"/>
                <a:cs typeface="+mn-cs"/>
              </a:defRPr>
            </a:lvl2pPr>
            <a:lvl3pPr marL="723900" indent="-2794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90600" indent="-2667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1257300" indent="-2667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800" dirty="0">
                <a:solidFill>
                  <a:schemeClr val="accent1"/>
                </a:solidFill>
              </a:rPr>
              <a:t>Solution</a:t>
            </a:r>
          </a:p>
          <a:p>
            <a:pPr marL="488950" lvl="2" indent="-254000"/>
            <a:r>
              <a:rPr lang="en-US" dirty="0"/>
              <a:t>On-chain registry contract maintains contract (name, addresses) pairs</a:t>
            </a:r>
          </a:p>
          <a:p>
            <a:pPr marL="488950" lvl="2" indent="-254000"/>
            <a:r>
              <a:rPr lang="en-US" dirty="0"/>
              <a:t>Registry contract address is well-known</a:t>
            </a:r>
          </a:p>
          <a:p>
            <a:pPr marL="488950" lvl="2" indent="-254000"/>
            <a:r>
              <a:rPr lang="en-US" dirty="0"/>
              <a:t>User queries address of the latest version of SC from registry</a:t>
            </a:r>
          </a:p>
          <a:p>
            <a:pPr marL="488950" lvl="2" indent="-254000"/>
            <a:r>
              <a:rPr lang="en-US" dirty="0"/>
              <a:t>Upgrade contract by replacing old contract address with new contract address</a:t>
            </a:r>
          </a:p>
          <a:p>
            <a:r>
              <a:rPr lang="en-US" sz="1800" dirty="0">
                <a:solidFill>
                  <a:srgbClr val="00A9CE"/>
                </a:solidFill>
              </a:rPr>
              <a:t>Consequences</a:t>
            </a:r>
          </a:p>
          <a:p>
            <a:pPr marL="488950" lvl="2" indent="-254000"/>
            <a:r>
              <a:rPr lang="en-US" dirty="0"/>
              <a:t>Human-readable &amp; constant contract names</a:t>
            </a:r>
          </a:p>
          <a:p>
            <a:pPr marL="488950" lvl="2" indent="-254000"/>
            <a:r>
              <a:rPr lang="en-US" dirty="0"/>
              <a:t>Transparent upgradability</a:t>
            </a:r>
          </a:p>
          <a:p>
            <a:pPr marL="488950" lvl="2" indent="-254000"/>
            <a:r>
              <a:rPr lang="en-US" dirty="0"/>
              <a:t>Look-up based on name &amp; version</a:t>
            </a:r>
          </a:p>
          <a:p>
            <a:pPr marL="488950" lvl="2" indent="-254000"/>
            <a:r>
              <a:rPr lang="en-US" dirty="0"/>
              <a:t>Modifying interfaces is challenging if used by external components</a:t>
            </a:r>
          </a:p>
          <a:p>
            <a:pPr marL="488950" lvl="2" indent="-254000"/>
            <a:r>
              <a:rPr lang="en-US" dirty="0"/>
              <a:t>Cost of maintaining registry</a:t>
            </a:r>
          </a:p>
          <a:p>
            <a:r>
              <a:rPr lang="en-US" sz="1800" dirty="0">
                <a:solidFill>
                  <a:schemeClr val="accent1"/>
                </a:solidFill>
              </a:rPr>
              <a:t>Related Patterns </a:t>
            </a:r>
          </a:p>
          <a:p>
            <a:pPr marL="444500" lvl="1" indent="-227013">
              <a:buFont typeface="Arial" panose="020B0604020202020204" pitchFamily="34" charset="0"/>
              <a:buChar char="•"/>
            </a:pPr>
            <a:r>
              <a:rPr lang="en-US" sz="1800" dirty="0"/>
              <a:t>Data Contract</a:t>
            </a:r>
          </a:p>
          <a:p>
            <a:pPr marL="444500" lvl="1" indent="-227013">
              <a:buFont typeface="Arial" panose="020B0604020202020204" pitchFamily="34" charset="0"/>
              <a:buChar char="•"/>
            </a:pPr>
            <a:r>
              <a:rPr lang="en-US" sz="1800" dirty="0"/>
              <a:t>Embedded Permission</a:t>
            </a:r>
          </a:p>
          <a:p>
            <a:r>
              <a:rPr lang="en-US" sz="1800" dirty="0">
                <a:solidFill>
                  <a:schemeClr val="accent1"/>
                </a:solidFill>
              </a:rPr>
              <a:t>Known uses</a:t>
            </a:r>
          </a:p>
          <a:p>
            <a:pPr marL="444500" lvl="1" indent="-227013">
              <a:buFont typeface="Arial" panose="020B0604020202020204" pitchFamily="34" charset="0"/>
              <a:buChar char="•"/>
            </a:pPr>
            <a:r>
              <a:rPr lang="en-US" sz="1800" dirty="0"/>
              <a:t>ENS (Ethereum Name Service)</a:t>
            </a:r>
          </a:p>
          <a:p>
            <a:pPr marL="444500" lvl="1" indent="-227013">
              <a:buFont typeface="Arial" panose="020B0604020202020204" pitchFamily="34" charset="0"/>
              <a:buChar char="•"/>
            </a:pPr>
            <a:r>
              <a:rPr lang="en-US" sz="1800" dirty="0"/>
              <a:t>Regis - In-browser application for registries deployment &amp; management</a:t>
            </a:r>
          </a:p>
        </p:txBody>
      </p:sp>
      <p:sp>
        <p:nvSpPr>
          <p:cNvPr id="2" name="Slide Number Placeholder 1"/>
          <p:cNvSpPr>
            <a:spLocks noGrp="1"/>
          </p:cNvSpPr>
          <p:nvPr>
            <p:ph type="sldNum" sz="quarter" idx="12"/>
          </p:nvPr>
        </p:nvSpPr>
        <p:spPr>
          <a:xfrm>
            <a:off x="253577" y="4878250"/>
            <a:ext cx="288789" cy="9551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F7CBAA-22EA-41CE-9725-C57ED0CEBC27}" type="slidenum">
              <a:rPr lang="en-AU" smtClean="0"/>
              <a:pPr/>
              <a:t>18</a:t>
            </a:fld>
            <a:r>
              <a:rPr lang="en-AU"/>
              <a:t>  |</a:t>
            </a:r>
            <a:endParaRPr lang="en-AU" dirty="0"/>
          </a:p>
        </p:txBody>
      </p:sp>
      <p:sp>
        <p:nvSpPr>
          <p:cNvPr id="5" name="Title 4"/>
          <p:cNvSpPr>
            <a:spLocks noGrp="1"/>
          </p:cNvSpPr>
          <p:nvPr>
            <p:ph type="title"/>
          </p:nvPr>
        </p:nvSpPr>
        <p:spPr/>
        <p:txBody>
          <a:bodyPr>
            <a:normAutofit fontScale="90000"/>
          </a:bodyPr>
          <a:lstStyle/>
          <a:p>
            <a:r>
              <a:rPr lang="en-US" dirty="0"/>
              <a:t>Contract Registry (Cont.)</a:t>
            </a:r>
          </a:p>
        </p:txBody>
      </p:sp>
    </p:spTree>
    <p:extLst>
      <p:ext uri="{BB962C8B-B14F-4D97-AF65-F5344CB8AC3E}">
        <p14:creationId xmlns:p14="http://schemas.microsoft.com/office/powerpoint/2010/main" val="38826449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828880" y="2894205"/>
            <a:ext cx="2230804" cy="5886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40" b="1" dirty="0"/>
              <a:t>Contract Registry</a:t>
            </a:r>
          </a:p>
        </p:txBody>
      </p:sp>
      <p:sp>
        <p:nvSpPr>
          <p:cNvPr id="11" name="Rounded Rectangle 10"/>
          <p:cNvSpPr/>
          <p:nvPr/>
        </p:nvSpPr>
        <p:spPr>
          <a:xfrm>
            <a:off x="5815296" y="4071012"/>
            <a:ext cx="2213088" cy="6106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40" b="1" dirty="0"/>
              <a:t> Data Contract</a:t>
            </a:r>
          </a:p>
        </p:txBody>
      </p:sp>
      <p:cxnSp>
        <p:nvCxnSpPr>
          <p:cNvPr id="12" name="Straight Arrow Connector 11"/>
          <p:cNvCxnSpPr>
            <a:stCxn id="16" idx="3"/>
            <a:endCxn id="11" idx="1"/>
          </p:cNvCxnSpPr>
          <p:nvPr/>
        </p:nvCxnSpPr>
        <p:spPr>
          <a:xfrm>
            <a:off x="4042264" y="4376336"/>
            <a:ext cx="1773033" cy="0"/>
          </a:xfrm>
          <a:prstGeom prst="straightConnector1">
            <a:avLst/>
          </a:prstGeom>
          <a:ln w="19050" cmpd="sng">
            <a:headEnd type="arrow"/>
            <a:tailEnd type="arrow"/>
          </a:ln>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3919873" y="4393630"/>
            <a:ext cx="2035237" cy="590931"/>
          </a:xfrm>
          <a:prstGeom prst="rect">
            <a:avLst/>
          </a:prstGeom>
          <a:noFill/>
        </p:spPr>
        <p:txBody>
          <a:bodyPr wrap="none" rtlCol="0">
            <a:spAutoFit/>
          </a:bodyPr>
          <a:lstStyle/>
          <a:p>
            <a:pPr algn="ctr"/>
            <a:r>
              <a:rPr lang="en-US" sz="1620" dirty="0"/>
              <a:t>Work together to </a:t>
            </a:r>
          </a:p>
          <a:p>
            <a:pPr algn="ctr"/>
            <a:r>
              <a:rPr lang="en-US" sz="1620" dirty="0"/>
              <a:t>improve upgradability</a:t>
            </a:r>
          </a:p>
        </p:txBody>
      </p:sp>
      <p:sp>
        <p:nvSpPr>
          <p:cNvPr id="16" name="Rounded Rectangle 15"/>
          <p:cNvSpPr/>
          <p:nvPr/>
        </p:nvSpPr>
        <p:spPr>
          <a:xfrm>
            <a:off x="1844119" y="4071012"/>
            <a:ext cx="2198144" cy="6106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40" b="1" dirty="0"/>
              <a:t>Factory Contract</a:t>
            </a:r>
          </a:p>
        </p:txBody>
      </p:sp>
      <p:cxnSp>
        <p:nvCxnSpPr>
          <p:cNvPr id="17" name="Straight Arrow Connector 16"/>
          <p:cNvCxnSpPr>
            <a:stCxn id="16" idx="0"/>
            <a:endCxn id="5" idx="2"/>
          </p:cNvCxnSpPr>
          <p:nvPr/>
        </p:nvCxnSpPr>
        <p:spPr>
          <a:xfrm flipV="1">
            <a:off x="2943192" y="3482865"/>
            <a:ext cx="1091" cy="588146"/>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597544" y="3500627"/>
            <a:ext cx="2378031" cy="590931"/>
          </a:xfrm>
          <a:prstGeom prst="rect">
            <a:avLst/>
          </a:prstGeom>
          <a:noFill/>
        </p:spPr>
        <p:txBody>
          <a:bodyPr wrap="square" rtlCol="0">
            <a:spAutoFit/>
          </a:bodyPr>
          <a:lstStyle/>
          <a:p>
            <a:pPr algn="ctr"/>
            <a:r>
              <a:rPr lang="en-US" sz="1620" dirty="0"/>
              <a:t>Register new </a:t>
            </a:r>
          </a:p>
          <a:p>
            <a:pPr algn="ctr"/>
            <a:r>
              <a:rPr lang="en-US" sz="1620" dirty="0"/>
              <a:t>smart contract instances</a:t>
            </a:r>
          </a:p>
        </p:txBody>
      </p:sp>
      <p:sp>
        <p:nvSpPr>
          <p:cNvPr id="22" name="Rounded Rectangle 21"/>
          <p:cNvSpPr/>
          <p:nvPr/>
        </p:nvSpPr>
        <p:spPr>
          <a:xfrm>
            <a:off x="1828882" y="1670893"/>
            <a:ext cx="2230806" cy="5886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40" b="1" dirty="0"/>
              <a:t>Embedded Permission</a:t>
            </a:r>
          </a:p>
        </p:txBody>
      </p:sp>
      <p:cxnSp>
        <p:nvCxnSpPr>
          <p:cNvPr id="28" name="Straight Arrow Connector 27"/>
          <p:cNvCxnSpPr>
            <a:stCxn id="22" idx="2"/>
            <a:endCxn id="5" idx="0"/>
          </p:cNvCxnSpPr>
          <p:nvPr/>
        </p:nvCxnSpPr>
        <p:spPr>
          <a:xfrm flipH="1">
            <a:off x="2944283" y="2259554"/>
            <a:ext cx="3" cy="634651"/>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1300028" y="2281437"/>
            <a:ext cx="1636795" cy="590931"/>
          </a:xfrm>
          <a:prstGeom prst="rect">
            <a:avLst/>
          </a:prstGeom>
          <a:noFill/>
        </p:spPr>
        <p:txBody>
          <a:bodyPr wrap="none" rtlCol="0">
            <a:spAutoFit/>
          </a:bodyPr>
          <a:lstStyle/>
          <a:p>
            <a:pPr algn="ctr"/>
            <a:r>
              <a:rPr lang="en-US" sz="1620" dirty="0"/>
              <a:t>Support defining </a:t>
            </a:r>
          </a:p>
          <a:p>
            <a:pPr algn="ctr"/>
            <a:r>
              <a:rPr lang="en-US" sz="1620" dirty="0"/>
              <a:t>write permission</a:t>
            </a:r>
          </a:p>
        </p:txBody>
      </p:sp>
      <p:sp>
        <p:nvSpPr>
          <p:cNvPr id="33" name="Rounded Rectangle 32"/>
          <p:cNvSpPr/>
          <p:nvPr/>
        </p:nvSpPr>
        <p:spPr>
          <a:xfrm>
            <a:off x="5782119" y="1202088"/>
            <a:ext cx="2230804" cy="588660"/>
          </a:xfrm>
          <a:prstGeom prst="round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40" b="1" dirty="0"/>
              <a:t>Multiple </a:t>
            </a:r>
            <a:r>
              <a:rPr lang="en-US" sz="1440" b="1" dirty="0" err="1"/>
              <a:t>Authorisation</a:t>
            </a:r>
            <a:endParaRPr lang="en-US" sz="1440" b="1" dirty="0"/>
          </a:p>
        </p:txBody>
      </p:sp>
      <p:sp>
        <p:nvSpPr>
          <p:cNvPr id="34" name="Rounded Rectangle 33"/>
          <p:cNvSpPr/>
          <p:nvPr/>
        </p:nvSpPr>
        <p:spPr>
          <a:xfrm>
            <a:off x="5815296" y="2080273"/>
            <a:ext cx="2213088" cy="610649"/>
          </a:xfrm>
          <a:prstGeom prst="roundRect">
            <a:avLst/>
          </a:prstGeom>
          <a:solidFill>
            <a:srgbClr val="0070C0"/>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40" b="1" dirty="0"/>
              <a:t>Dynamic </a:t>
            </a:r>
            <a:r>
              <a:rPr lang="en-US" sz="1440" b="1" dirty="0" err="1"/>
              <a:t>Authorisation</a:t>
            </a:r>
            <a:endParaRPr lang="en-US" sz="1440" b="1" dirty="0"/>
          </a:p>
        </p:txBody>
      </p:sp>
      <p:cxnSp>
        <p:nvCxnSpPr>
          <p:cNvPr id="35" name="Straight Arrow Connector 34"/>
          <p:cNvCxnSpPr>
            <a:stCxn id="33" idx="1"/>
            <a:endCxn id="22" idx="3"/>
          </p:cNvCxnSpPr>
          <p:nvPr/>
        </p:nvCxnSpPr>
        <p:spPr>
          <a:xfrm flipH="1">
            <a:off x="4059687" y="1496418"/>
            <a:ext cx="1722432" cy="468806"/>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a:stCxn id="34" idx="1"/>
            <a:endCxn id="22" idx="3"/>
          </p:cNvCxnSpPr>
          <p:nvPr/>
        </p:nvCxnSpPr>
        <p:spPr>
          <a:xfrm flipH="1" flipV="1">
            <a:off x="4059687" y="1965225"/>
            <a:ext cx="1755608" cy="420373"/>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4719721" y="1815056"/>
            <a:ext cx="857927" cy="341632"/>
          </a:xfrm>
          <a:prstGeom prst="rect">
            <a:avLst/>
          </a:prstGeom>
          <a:noFill/>
        </p:spPr>
        <p:txBody>
          <a:bodyPr wrap="none" rtlCol="0">
            <a:spAutoFit/>
          </a:bodyPr>
          <a:lstStyle/>
          <a:p>
            <a:pPr algn="ctr"/>
            <a:r>
              <a:rPr lang="en-US" sz="1620" dirty="0"/>
              <a:t>Support</a:t>
            </a:r>
          </a:p>
        </p:txBody>
      </p:sp>
      <p:sp>
        <p:nvSpPr>
          <p:cNvPr id="4" name="Title 3">
            <a:extLst>
              <a:ext uri="{FF2B5EF4-FFF2-40B4-BE49-F238E27FC236}">
                <a16:creationId xmlns:a16="http://schemas.microsoft.com/office/drawing/2014/main" id="{DCE05A37-1A53-9C18-73C6-5CA13A0BE237}"/>
              </a:ext>
            </a:extLst>
          </p:cNvPr>
          <p:cNvSpPr>
            <a:spLocks noGrp="1"/>
          </p:cNvSpPr>
          <p:nvPr>
            <p:ph type="title"/>
          </p:nvPr>
        </p:nvSpPr>
        <p:spPr/>
        <p:txBody>
          <a:bodyPr>
            <a:normAutofit/>
          </a:bodyPr>
          <a:lstStyle/>
          <a:p>
            <a:r>
              <a:rPr lang="en-US" sz="3600" dirty="0"/>
              <a:t>Related Patterns</a:t>
            </a:r>
            <a:endParaRPr lang="en-AU" dirty="0"/>
          </a:p>
        </p:txBody>
      </p:sp>
      <p:sp>
        <p:nvSpPr>
          <p:cNvPr id="3" name="Slide Number Placeholder 2"/>
          <p:cNvSpPr>
            <a:spLocks noGrp="1"/>
          </p:cNvSpPr>
          <p:nvPr>
            <p:ph type="sldNum" sz="quarter" idx="11"/>
          </p:nvPr>
        </p:nvSpPr>
        <p:spPr/>
        <p:txBody>
          <a:bodyPr/>
          <a:lstStyle/>
          <a:p>
            <a:fld id="{FFF7CBAA-22EA-41CE-9725-C57ED0CEBC27}" type="slidenum">
              <a:rPr lang="en-AU" smtClean="0"/>
              <a:pPr/>
              <a:t>19</a:t>
            </a:fld>
            <a:r>
              <a:rPr lang="en-AU"/>
              <a:t>  |</a:t>
            </a:r>
            <a:endParaRPr lang="en-AU" dirty="0"/>
          </a:p>
        </p:txBody>
      </p:sp>
    </p:spTree>
    <p:extLst>
      <p:ext uri="{BB962C8B-B14F-4D97-AF65-F5344CB8AC3E}">
        <p14:creationId xmlns:p14="http://schemas.microsoft.com/office/powerpoint/2010/main" val="30331795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BF600DA-B496-4DD5-ADC7-47167A8F3FDD}"/>
              </a:ext>
            </a:extLst>
          </p:cNvPr>
          <p:cNvSpPr>
            <a:spLocks noGrp="1"/>
          </p:cNvSpPr>
          <p:nvPr>
            <p:ph idx="1"/>
          </p:nvPr>
        </p:nvSpPr>
        <p:spPr>
          <a:xfrm>
            <a:off x="648001" y="1272399"/>
            <a:ext cx="7911799" cy="3695843"/>
          </a:xfrm>
        </p:spPr>
        <p:txBody>
          <a:bodyPr>
            <a:normAutofit/>
          </a:bodyPr>
          <a:lstStyle/>
          <a:p>
            <a:r>
              <a:rPr lang="en-AU" sz="2400" dirty="0"/>
              <a:t>Design patterns</a:t>
            </a:r>
          </a:p>
          <a:p>
            <a:r>
              <a:rPr lang="en-AU" sz="2400" dirty="0"/>
              <a:t>Design patterns for blockchain-based applications</a:t>
            </a:r>
          </a:p>
          <a:p>
            <a:pPr lvl="1"/>
            <a:r>
              <a:rPr lang="en-AU" sz="1800" dirty="0"/>
              <a:t>Pattern collections</a:t>
            </a:r>
          </a:p>
          <a:p>
            <a:pPr lvl="1"/>
            <a:r>
              <a:rPr lang="en-AU" sz="1800" dirty="0"/>
              <a:t>Example patterns</a:t>
            </a:r>
          </a:p>
        </p:txBody>
      </p:sp>
      <p:sp>
        <p:nvSpPr>
          <p:cNvPr id="4" name="Title 3">
            <a:extLst>
              <a:ext uri="{FF2B5EF4-FFF2-40B4-BE49-F238E27FC236}">
                <a16:creationId xmlns:a16="http://schemas.microsoft.com/office/drawing/2014/main" id="{A2AA6159-7D44-4683-9FE8-2F5B492F6624}"/>
              </a:ext>
            </a:extLst>
          </p:cNvPr>
          <p:cNvSpPr>
            <a:spLocks noGrp="1"/>
          </p:cNvSpPr>
          <p:nvPr>
            <p:ph type="title"/>
          </p:nvPr>
        </p:nvSpPr>
        <p:spPr>
          <a:xfrm>
            <a:off x="648000" y="287999"/>
            <a:ext cx="6631640" cy="648000"/>
          </a:xfrm>
        </p:spPr>
        <p:txBody>
          <a:bodyPr/>
          <a:lstStyle/>
          <a:p>
            <a:r>
              <a:rPr lang="en-AU" dirty="0"/>
              <a:t>Outline</a:t>
            </a:r>
          </a:p>
        </p:txBody>
      </p:sp>
      <p:sp>
        <p:nvSpPr>
          <p:cNvPr id="3" name="Slide Number Placeholder 2">
            <a:extLst>
              <a:ext uri="{FF2B5EF4-FFF2-40B4-BE49-F238E27FC236}">
                <a16:creationId xmlns:a16="http://schemas.microsoft.com/office/drawing/2014/main" id="{D210E805-372B-F817-D0AE-0CEC1D3488EF}"/>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2</a:t>
            </a:fld>
            <a:endParaRPr lang="en-US"/>
          </a:p>
        </p:txBody>
      </p:sp>
    </p:spTree>
    <p:extLst>
      <p:ext uri="{BB962C8B-B14F-4D97-AF65-F5344CB8AC3E}">
        <p14:creationId xmlns:p14="http://schemas.microsoft.com/office/powerpoint/2010/main" val="20494038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tract Relay (aka Proxy)</a:t>
            </a:r>
          </a:p>
        </p:txBody>
      </p:sp>
      <p:sp>
        <p:nvSpPr>
          <p:cNvPr id="3" name="Content Placeholder 2"/>
          <p:cNvSpPr>
            <a:spLocks noGrp="1"/>
          </p:cNvSpPr>
          <p:nvPr>
            <p:ph idx="1"/>
          </p:nvPr>
        </p:nvSpPr>
        <p:spPr>
          <a:xfrm>
            <a:off x="648000" y="1201316"/>
            <a:ext cx="7931978" cy="3888432"/>
          </a:xfrm>
        </p:spPr>
        <p:txBody>
          <a:bodyPr numCol="2">
            <a:noAutofit/>
          </a:bodyPr>
          <a:lstStyle/>
          <a:p>
            <a:r>
              <a:rPr lang="en-US" sz="1800" b="1" dirty="0">
                <a:solidFill>
                  <a:schemeClr val="accent1"/>
                </a:solidFill>
              </a:rPr>
              <a:t>Summary</a:t>
            </a:r>
            <a:r>
              <a:rPr lang="en-US" sz="1800" dirty="0"/>
              <a:t> </a:t>
            </a:r>
          </a:p>
          <a:p>
            <a:pPr lvl="1"/>
            <a:r>
              <a:rPr lang="en-AU" sz="1800" dirty="0"/>
              <a:t>Use a proxy contract to relay TXs</a:t>
            </a:r>
          </a:p>
          <a:p>
            <a:r>
              <a:rPr lang="en-US" sz="1800" b="1" dirty="0">
                <a:solidFill>
                  <a:schemeClr val="accent1"/>
                </a:solidFill>
              </a:rPr>
              <a:t>Context</a:t>
            </a:r>
          </a:p>
          <a:p>
            <a:pPr lvl="1"/>
            <a:r>
              <a:rPr lang="en-US" sz="1800" dirty="0"/>
              <a:t>SCs need to be upgradable</a:t>
            </a:r>
          </a:p>
          <a:p>
            <a:r>
              <a:rPr lang="en-US" sz="1800" b="1" dirty="0">
                <a:solidFill>
                  <a:srgbClr val="00A9CE"/>
                </a:solidFill>
              </a:rPr>
              <a:t>Problem</a:t>
            </a:r>
            <a:endParaRPr lang="en-US" sz="1800" dirty="0">
              <a:solidFill>
                <a:srgbClr val="00A9CE"/>
              </a:solidFill>
            </a:endParaRPr>
          </a:p>
          <a:p>
            <a:pPr lvl="1"/>
            <a:r>
              <a:rPr lang="en-AU" sz="1800" dirty="0"/>
              <a:t>How to access latest version of a SC?</a:t>
            </a:r>
          </a:p>
          <a:p>
            <a:r>
              <a:rPr lang="en-US" sz="1800" b="1" dirty="0">
                <a:solidFill>
                  <a:srgbClr val="00A9CE"/>
                </a:solidFill>
              </a:rPr>
              <a:t>Forces</a:t>
            </a:r>
          </a:p>
          <a:p>
            <a:pPr lvl="1"/>
            <a:r>
              <a:rPr lang="en-US" sz="1800" dirty="0"/>
              <a:t>Immutability – On-chain SC code is immutable</a:t>
            </a:r>
            <a:endParaRPr lang="en-US" sz="1800" dirty="0">
              <a:solidFill>
                <a:srgbClr val="000000"/>
              </a:solidFill>
            </a:endParaRPr>
          </a:p>
          <a:p>
            <a:pPr lvl="1"/>
            <a:r>
              <a:rPr lang="en-US" sz="1800" dirty="0"/>
              <a:t>Upgradability – Fundamental need to upgrade SCs</a:t>
            </a:r>
          </a:p>
          <a:p>
            <a:pPr lvl="1"/>
            <a:r>
              <a:rPr lang="en-US" sz="1800" dirty="0">
                <a:solidFill>
                  <a:srgbClr val="000000"/>
                </a:solidFill>
              </a:rPr>
              <a:t>Cost of redeployment &amp; state data</a:t>
            </a:r>
          </a:p>
          <a:p>
            <a:r>
              <a:rPr lang="en-US" altLang="zh-CN" sz="1800" b="1" dirty="0">
                <a:solidFill>
                  <a:srgbClr val="00A9CE"/>
                </a:solidFill>
              </a:rPr>
              <a:t>Solution</a:t>
            </a:r>
          </a:p>
          <a:p>
            <a:pPr lvl="1"/>
            <a:r>
              <a:rPr lang="en-AU" sz="1800" dirty="0"/>
              <a:t>Define a proxy contract</a:t>
            </a:r>
          </a:p>
          <a:p>
            <a:pPr lvl="1"/>
            <a:r>
              <a:rPr lang="en-AU" sz="1800" dirty="0"/>
              <a:t>SC users always interact with the proxy contract</a:t>
            </a:r>
          </a:p>
          <a:p>
            <a:pPr lvl="1"/>
            <a:r>
              <a:rPr lang="en-AU" sz="1800" dirty="0"/>
              <a:t>Proxy relays all TXs to the most recent contract version</a:t>
            </a:r>
          </a:p>
          <a:p>
            <a:r>
              <a:rPr lang="en-US" sz="1800" b="1" dirty="0">
                <a:solidFill>
                  <a:srgbClr val="00A9CE"/>
                </a:solidFill>
              </a:rPr>
              <a:t>Consequences</a:t>
            </a:r>
          </a:p>
          <a:p>
            <a:pPr lvl="1"/>
            <a:r>
              <a:rPr lang="en-US" sz="1980" dirty="0"/>
              <a:t>Immutability isn’t affected as  </a:t>
            </a:r>
            <a:r>
              <a:rPr lang="en-AU" sz="1980" dirty="0"/>
              <a:t>SC isn’t modified</a:t>
            </a:r>
          </a:p>
          <a:p>
            <a:pPr lvl="1"/>
            <a:r>
              <a:rPr lang="en-AU" sz="1980" dirty="0"/>
              <a:t>Latest contact can still be reached </a:t>
            </a:r>
            <a:endParaRPr lang="en-US" sz="1980" dirty="0"/>
          </a:p>
          <a:p>
            <a:pPr lvl="1"/>
            <a:r>
              <a:rPr lang="en-US" sz="1980" dirty="0"/>
              <a:t>Calls &amp; delegated calls are costly</a:t>
            </a:r>
          </a:p>
        </p:txBody>
      </p:sp>
      <p:sp>
        <p:nvSpPr>
          <p:cNvPr id="6" name="Slide Number Placeholder 5"/>
          <p:cNvSpPr>
            <a:spLocks noGrp="1"/>
          </p:cNvSpPr>
          <p:nvPr>
            <p:ph type="sldNum" sz="quarter" idx="12"/>
          </p:nvPr>
        </p:nvSpPr>
        <p:spPr>
          <a:xfrm>
            <a:off x="253577" y="4878250"/>
            <a:ext cx="288789" cy="9551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F7CBAA-22EA-41CE-9725-C57ED0CEBC27}" type="slidenum">
              <a:rPr lang="en-AU" smtClean="0"/>
              <a:pPr/>
              <a:t>20</a:t>
            </a:fld>
            <a:r>
              <a:rPr lang="en-AU"/>
              <a:t>  |</a:t>
            </a:r>
            <a:endParaRPr lang="en-AU" dirty="0"/>
          </a:p>
        </p:txBody>
      </p:sp>
    </p:spTree>
    <p:extLst>
      <p:ext uri="{BB962C8B-B14F-4D97-AF65-F5344CB8AC3E}">
        <p14:creationId xmlns:p14="http://schemas.microsoft.com/office/powerpoint/2010/main" val="19781145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C895B-0C55-4856-8333-D0C0F1076BB2}"/>
              </a:ext>
            </a:extLst>
          </p:cNvPr>
          <p:cNvSpPr>
            <a:spLocks noGrp="1"/>
          </p:cNvSpPr>
          <p:nvPr>
            <p:ph type="title"/>
          </p:nvPr>
        </p:nvSpPr>
        <p:spPr/>
        <p:txBody>
          <a:bodyPr>
            <a:normAutofit/>
          </a:bodyPr>
          <a:lstStyle/>
          <a:p>
            <a:r>
              <a:rPr lang="en-US" dirty="0"/>
              <a:t>Contract Relay (Cont.)</a:t>
            </a:r>
            <a:endParaRPr lang="en-AU" dirty="0"/>
          </a:p>
        </p:txBody>
      </p:sp>
      <p:sp>
        <p:nvSpPr>
          <p:cNvPr id="6" name="Slide Number Placeholder 5">
            <a:extLst>
              <a:ext uri="{FF2B5EF4-FFF2-40B4-BE49-F238E27FC236}">
                <a16:creationId xmlns:a16="http://schemas.microsoft.com/office/drawing/2014/main" id="{1F52E50F-35E3-432F-BF64-9A2E25DF24C8}"/>
              </a:ext>
            </a:extLst>
          </p:cNvPr>
          <p:cNvSpPr>
            <a:spLocks noGrp="1"/>
          </p:cNvSpPr>
          <p:nvPr>
            <p:ph type="sldNum" sz="quarter" idx="11"/>
          </p:nvPr>
        </p:nvSpPr>
        <p:spPr/>
        <p:txBody>
          <a:bodyPr/>
          <a:lstStyle/>
          <a:p>
            <a:fld id="{FFF7CBAA-22EA-41CE-9725-C57ED0CEBC27}" type="slidenum">
              <a:rPr lang="en-AU" smtClean="0"/>
              <a:pPr/>
              <a:t>21</a:t>
            </a:fld>
            <a:r>
              <a:rPr lang="en-AU"/>
              <a:t>  |</a:t>
            </a:r>
            <a:endParaRPr lang="en-AU" dirty="0"/>
          </a:p>
        </p:txBody>
      </p:sp>
      <p:pic>
        <p:nvPicPr>
          <p:cNvPr id="3" name="Picture 2">
            <a:extLst>
              <a:ext uri="{FF2B5EF4-FFF2-40B4-BE49-F238E27FC236}">
                <a16:creationId xmlns:a16="http://schemas.microsoft.com/office/drawing/2014/main" id="{476F582F-0F9C-4385-80E0-F85C3E78EBCB}"/>
              </a:ext>
            </a:extLst>
          </p:cNvPr>
          <p:cNvPicPr>
            <a:picLocks noChangeAspect="1"/>
          </p:cNvPicPr>
          <p:nvPr/>
        </p:nvPicPr>
        <p:blipFill>
          <a:blip r:embed="rId3"/>
          <a:stretch>
            <a:fillRect/>
          </a:stretch>
        </p:blipFill>
        <p:spPr>
          <a:xfrm>
            <a:off x="3736168" y="1201316"/>
            <a:ext cx="4817948" cy="3586320"/>
          </a:xfrm>
          <a:prstGeom prst="rect">
            <a:avLst/>
          </a:prstGeom>
        </p:spPr>
      </p:pic>
      <p:sp>
        <p:nvSpPr>
          <p:cNvPr id="4" name="Rectangle: Rounded Corners 3">
            <a:extLst>
              <a:ext uri="{FF2B5EF4-FFF2-40B4-BE49-F238E27FC236}">
                <a16:creationId xmlns:a16="http://schemas.microsoft.com/office/drawing/2014/main" id="{91036BC0-C257-4E4D-9F58-75A6282560D1}"/>
              </a:ext>
            </a:extLst>
          </p:cNvPr>
          <p:cNvSpPr/>
          <p:nvPr/>
        </p:nvSpPr>
        <p:spPr>
          <a:xfrm>
            <a:off x="905337" y="2533465"/>
            <a:ext cx="777686" cy="3888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Proxy</a:t>
            </a:r>
          </a:p>
        </p:txBody>
      </p:sp>
      <p:sp>
        <p:nvSpPr>
          <p:cNvPr id="7" name="Rectangle: Rounded Corners 6">
            <a:extLst>
              <a:ext uri="{FF2B5EF4-FFF2-40B4-BE49-F238E27FC236}">
                <a16:creationId xmlns:a16="http://schemas.microsoft.com/office/drawing/2014/main" id="{8F0BA061-25E5-49F4-8B3A-E2F66987DE50}"/>
              </a:ext>
            </a:extLst>
          </p:cNvPr>
          <p:cNvSpPr/>
          <p:nvPr/>
        </p:nvSpPr>
        <p:spPr>
          <a:xfrm>
            <a:off x="2692591" y="2535406"/>
            <a:ext cx="842400" cy="3888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20" dirty="0"/>
              <a:t>SC</a:t>
            </a:r>
          </a:p>
        </p:txBody>
      </p:sp>
      <p:sp>
        <p:nvSpPr>
          <p:cNvPr id="8" name="Rectangle: Rounded Corners 7">
            <a:extLst>
              <a:ext uri="{FF2B5EF4-FFF2-40B4-BE49-F238E27FC236}">
                <a16:creationId xmlns:a16="http://schemas.microsoft.com/office/drawing/2014/main" id="{DAFAD2AB-44DB-4FE9-AE22-03FA98B8ED88}"/>
              </a:ext>
            </a:extLst>
          </p:cNvPr>
          <p:cNvSpPr/>
          <p:nvPr/>
        </p:nvSpPr>
        <p:spPr>
          <a:xfrm>
            <a:off x="2692591" y="3644107"/>
            <a:ext cx="842400" cy="3888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dirty="0"/>
              <a:t>New SC</a:t>
            </a:r>
          </a:p>
        </p:txBody>
      </p:sp>
      <p:cxnSp>
        <p:nvCxnSpPr>
          <p:cNvPr id="12" name="Straight Arrow Connector 11">
            <a:extLst>
              <a:ext uri="{FF2B5EF4-FFF2-40B4-BE49-F238E27FC236}">
                <a16:creationId xmlns:a16="http://schemas.microsoft.com/office/drawing/2014/main" id="{2FC564E1-3072-45B0-8A17-24EFE702834F}"/>
              </a:ext>
            </a:extLst>
          </p:cNvPr>
          <p:cNvCxnSpPr>
            <a:cxnSpLocks/>
            <a:stCxn id="4" idx="3"/>
            <a:endCxn id="7" idx="1"/>
          </p:cNvCxnSpPr>
          <p:nvPr/>
        </p:nvCxnSpPr>
        <p:spPr>
          <a:xfrm>
            <a:off x="1683023" y="2727887"/>
            <a:ext cx="1009568" cy="19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43679AF8-7260-4CAF-A68C-38931FFDB45C}"/>
              </a:ext>
            </a:extLst>
          </p:cNvPr>
          <p:cNvCxnSpPr>
            <a:cxnSpLocks/>
            <a:endCxn id="8" idx="1"/>
          </p:cNvCxnSpPr>
          <p:nvPr/>
        </p:nvCxnSpPr>
        <p:spPr>
          <a:xfrm>
            <a:off x="1500644" y="2934455"/>
            <a:ext cx="1191948" cy="9040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9" name="Picture 18" descr="A picture containing object&#10;&#10;Description generated with high confidence">
            <a:extLst>
              <a:ext uri="{FF2B5EF4-FFF2-40B4-BE49-F238E27FC236}">
                <a16:creationId xmlns:a16="http://schemas.microsoft.com/office/drawing/2014/main" id="{A2CF264F-8054-4951-9D13-3A43641E6308}"/>
              </a:ext>
            </a:extLst>
          </p:cNvPr>
          <p:cNvPicPr>
            <a:picLocks noChangeAspect="1"/>
          </p:cNvPicPr>
          <p:nvPr/>
        </p:nvPicPr>
        <p:blipFill>
          <a:blip r:embed="rId4"/>
          <a:stretch>
            <a:fillRect/>
          </a:stretch>
        </p:blipFill>
        <p:spPr>
          <a:xfrm>
            <a:off x="1025969" y="1635483"/>
            <a:ext cx="534924" cy="534924"/>
          </a:xfrm>
          <a:prstGeom prst="rect">
            <a:avLst/>
          </a:prstGeom>
        </p:spPr>
      </p:pic>
      <p:pic>
        <p:nvPicPr>
          <p:cNvPr id="20" name="Picture 19" descr="A close up of sunglasses&#10;&#10;Description generated with high confidence">
            <a:extLst>
              <a:ext uri="{FF2B5EF4-FFF2-40B4-BE49-F238E27FC236}">
                <a16:creationId xmlns:a16="http://schemas.microsoft.com/office/drawing/2014/main" id="{6D365623-F953-4F3F-8BE5-08EF8D042A6E}"/>
              </a:ext>
            </a:extLst>
          </p:cNvPr>
          <p:cNvPicPr>
            <a:picLocks noChangeAspect="1"/>
          </p:cNvPicPr>
          <p:nvPr/>
        </p:nvPicPr>
        <p:blipFill>
          <a:blip r:embed="rId5"/>
          <a:stretch>
            <a:fillRect/>
          </a:stretch>
        </p:blipFill>
        <p:spPr>
          <a:xfrm>
            <a:off x="1174423" y="3609714"/>
            <a:ext cx="534924" cy="534924"/>
          </a:xfrm>
          <a:prstGeom prst="rect">
            <a:avLst/>
          </a:prstGeom>
        </p:spPr>
      </p:pic>
      <p:pic>
        <p:nvPicPr>
          <p:cNvPr id="21" name="Picture 20" descr="A drawing of a cartoon character&#10;&#10;Description generated with high confidence">
            <a:extLst>
              <a:ext uri="{FF2B5EF4-FFF2-40B4-BE49-F238E27FC236}">
                <a16:creationId xmlns:a16="http://schemas.microsoft.com/office/drawing/2014/main" id="{727F3648-C2DD-4C56-882C-37EA622B547A}"/>
              </a:ext>
            </a:extLst>
          </p:cNvPr>
          <p:cNvPicPr>
            <a:picLocks noChangeAspect="1"/>
          </p:cNvPicPr>
          <p:nvPr/>
        </p:nvPicPr>
        <p:blipFill>
          <a:blip r:embed="rId6"/>
          <a:stretch>
            <a:fillRect/>
          </a:stretch>
        </p:blipFill>
        <p:spPr>
          <a:xfrm>
            <a:off x="699380" y="3609715"/>
            <a:ext cx="535375" cy="535375"/>
          </a:xfrm>
          <a:prstGeom prst="rect">
            <a:avLst/>
          </a:prstGeom>
        </p:spPr>
      </p:pic>
      <p:grpSp>
        <p:nvGrpSpPr>
          <p:cNvPr id="10" name="Group 9">
            <a:extLst>
              <a:ext uri="{FF2B5EF4-FFF2-40B4-BE49-F238E27FC236}">
                <a16:creationId xmlns:a16="http://schemas.microsoft.com/office/drawing/2014/main" id="{F7AA0EFF-ED30-4896-9855-822167685406}"/>
              </a:ext>
            </a:extLst>
          </p:cNvPr>
          <p:cNvGrpSpPr/>
          <p:nvPr/>
        </p:nvGrpSpPr>
        <p:grpSpPr>
          <a:xfrm>
            <a:off x="1357798" y="1747416"/>
            <a:ext cx="1715794" cy="813121"/>
            <a:chOff x="1000664" y="1624072"/>
            <a:chExt cx="1906438" cy="903468"/>
          </a:xfrm>
        </p:grpSpPr>
        <p:sp>
          <p:nvSpPr>
            <p:cNvPr id="24" name="Freeform: Shape 23">
              <a:extLst>
                <a:ext uri="{FF2B5EF4-FFF2-40B4-BE49-F238E27FC236}">
                  <a16:creationId xmlns:a16="http://schemas.microsoft.com/office/drawing/2014/main" id="{DEEFD913-2598-4A21-81A3-64B72C4B7BA3}"/>
                </a:ext>
              </a:extLst>
            </p:cNvPr>
            <p:cNvSpPr/>
            <p:nvPr/>
          </p:nvSpPr>
          <p:spPr>
            <a:xfrm>
              <a:off x="1000664" y="1966770"/>
              <a:ext cx="1906438" cy="560770"/>
            </a:xfrm>
            <a:custGeom>
              <a:avLst/>
              <a:gdLst>
                <a:gd name="connsiteX0" fmla="*/ 1906438 w 1906438"/>
                <a:gd name="connsiteY0" fmla="*/ 560770 h 560770"/>
                <a:gd name="connsiteX1" fmla="*/ 1250830 w 1906438"/>
                <a:gd name="connsiteY1" fmla="*/ 53 h 560770"/>
                <a:gd name="connsiteX2" fmla="*/ 0 w 1906438"/>
                <a:gd name="connsiteY2" fmla="*/ 526264 h 560770"/>
              </a:gdLst>
              <a:ahLst/>
              <a:cxnLst>
                <a:cxn ang="0">
                  <a:pos x="connsiteX0" y="connsiteY0"/>
                </a:cxn>
                <a:cxn ang="0">
                  <a:pos x="connsiteX1" y="connsiteY1"/>
                </a:cxn>
                <a:cxn ang="0">
                  <a:pos x="connsiteX2" y="connsiteY2"/>
                </a:cxn>
              </a:cxnLst>
              <a:rect l="l" t="t" r="r" b="b"/>
              <a:pathLst>
                <a:path w="1906438" h="560770">
                  <a:moveTo>
                    <a:pt x="1906438" y="560770"/>
                  </a:moveTo>
                  <a:cubicBezTo>
                    <a:pt x="1737504" y="283287"/>
                    <a:pt x="1568570" y="5804"/>
                    <a:pt x="1250830" y="53"/>
                  </a:cubicBezTo>
                  <a:cubicBezTo>
                    <a:pt x="933090" y="-5698"/>
                    <a:pt x="208472" y="451502"/>
                    <a:pt x="0" y="526264"/>
                  </a:cubicBezTo>
                </a:path>
              </a:pathLst>
            </a:custGeom>
            <a:noFill/>
            <a:ln>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a:p>
          </p:txBody>
        </p:sp>
        <p:sp>
          <p:nvSpPr>
            <p:cNvPr id="9" name="TextBox 8">
              <a:extLst>
                <a:ext uri="{FF2B5EF4-FFF2-40B4-BE49-F238E27FC236}">
                  <a16:creationId xmlns:a16="http://schemas.microsoft.com/office/drawing/2014/main" id="{594B5728-DEA4-4769-AC7E-5691780402EC}"/>
                </a:ext>
              </a:extLst>
            </p:cNvPr>
            <p:cNvSpPr txBox="1"/>
            <p:nvPr/>
          </p:nvSpPr>
          <p:spPr>
            <a:xfrm>
              <a:off x="1763689" y="1624072"/>
              <a:ext cx="1008112" cy="379591"/>
            </a:xfrm>
            <a:prstGeom prst="rect">
              <a:avLst/>
            </a:prstGeom>
            <a:noFill/>
          </p:spPr>
          <p:txBody>
            <a:bodyPr wrap="square" rtlCol="0">
              <a:spAutoFit/>
            </a:bodyPr>
            <a:lstStyle/>
            <a:p>
              <a:r>
                <a:rPr lang="en-AU" sz="1620" dirty="0"/>
                <a:t>Register</a:t>
              </a:r>
            </a:p>
          </p:txBody>
        </p:sp>
      </p:grpSp>
      <p:grpSp>
        <p:nvGrpSpPr>
          <p:cNvPr id="13" name="Group 12">
            <a:extLst>
              <a:ext uri="{FF2B5EF4-FFF2-40B4-BE49-F238E27FC236}">
                <a16:creationId xmlns:a16="http://schemas.microsoft.com/office/drawing/2014/main" id="{D2A774C5-7E76-48C2-8CEE-28AA97C7CB65}"/>
              </a:ext>
            </a:extLst>
          </p:cNvPr>
          <p:cNvGrpSpPr/>
          <p:nvPr/>
        </p:nvGrpSpPr>
        <p:grpSpPr>
          <a:xfrm>
            <a:off x="1714931" y="2824505"/>
            <a:ext cx="1410800" cy="815196"/>
            <a:chOff x="1397479" y="2820838"/>
            <a:chExt cx="1567555" cy="905773"/>
          </a:xfrm>
        </p:grpSpPr>
        <p:sp>
          <p:nvSpPr>
            <p:cNvPr id="25" name="Freeform: Shape 24">
              <a:extLst>
                <a:ext uri="{FF2B5EF4-FFF2-40B4-BE49-F238E27FC236}">
                  <a16:creationId xmlns:a16="http://schemas.microsoft.com/office/drawing/2014/main" id="{A53B0395-963A-40A9-A40C-4903F8EC1475}"/>
                </a:ext>
              </a:extLst>
            </p:cNvPr>
            <p:cNvSpPr/>
            <p:nvPr/>
          </p:nvSpPr>
          <p:spPr>
            <a:xfrm>
              <a:off x="1397479" y="2820838"/>
              <a:ext cx="1457864" cy="905773"/>
            </a:xfrm>
            <a:custGeom>
              <a:avLst/>
              <a:gdLst>
                <a:gd name="connsiteX0" fmla="*/ 1457864 w 1457864"/>
                <a:gd name="connsiteY0" fmla="*/ 905773 h 905773"/>
                <a:gd name="connsiteX1" fmla="*/ 0 w 1457864"/>
                <a:gd name="connsiteY1" fmla="*/ 0 h 905773"/>
              </a:gdLst>
              <a:ahLst/>
              <a:cxnLst>
                <a:cxn ang="0">
                  <a:pos x="connsiteX0" y="connsiteY0"/>
                </a:cxn>
                <a:cxn ang="0">
                  <a:pos x="connsiteX1" y="connsiteY1"/>
                </a:cxn>
              </a:cxnLst>
              <a:rect l="l" t="t" r="r" b="b"/>
              <a:pathLst>
                <a:path w="1457864" h="905773">
                  <a:moveTo>
                    <a:pt x="1457864" y="905773"/>
                  </a:moveTo>
                  <a:cubicBezTo>
                    <a:pt x="829573" y="508958"/>
                    <a:pt x="201283" y="112143"/>
                    <a:pt x="0" y="0"/>
                  </a:cubicBezTo>
                </a:path>
              </a:pathLst>
            </a:custGeom>
            <a:noFill/>
            <a:ln>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AU" sz="1620"/>
            </a:p>
          </p:txBody>
        </p:sp>
        <p:sp>
          <p:nvSpPr>
            <p:cNvPr id="18" name="TextBox 17">
              <a:extLst>
                <a:ext uri="{FF2B5EF4-FFF2-40B4-BE49-F238E27FC236}">
                  <a16:creationId xmlns:a16="http://schemas.microsoft.com/office/drawing/2014/main" id="{4930F42F-BEED-44D4-B6C1-1638BFA04730}"/>
                </a:ext>
              </a:extLst>
            </p:cNvPr>
            <p:cNvSpPr txBox="1"/>
            <p:nvPr/>
          </p:nvSpPr>
          <p:spPr>
            <a:xfrm rot="1994522">
              <a:off x="1956922" y="3101041"/>
              <a:ext cx="1008112" cy="379591"/>
            </a:xfrm>
            <a:prstGeom prst="rect">
              <a:avLst/>
            </a:prstGeom>
            <a:noFill/>
          </p:spPr>
          <p:txBody>
            <a:bodyPr wrap="square" rtlCol="0">
              <a:spAutoFit/>
            </a:bodyPr>
            <a:lstStyle/>
            <a:p>
              <a:r>
                <a:rPr lang="en-AU" sz="1620" dirty="0"/>
                <a:t>Register</a:t>
              </a:r>
            </a:p>
          </p:txBody>
        </p:sp>
      </p:grpSp>
      <p:grpSp>
        <p:nvGrpSpPr>
          <p:cNvPr id="14" name="Group 13">
            <a:extLst>
              <a:ext uri="{FF2B5EF4-FFF2-40B4-BE49-F238E27FC236}">
                <a16:creationId xmlns:a16="http://schemas.microsoft.com/office/drawing/2014/main" id="{7F6BADBF-EAB7-43D2-9C58-DAB670EF0DEE}"/>
              </a:ext>
            </a:extLst>
          </p:cNvPr>
          <p:cNvGrpSpPr/>
          <p:nvPr/>
        </p:nvGrpSpPr>
        <p:grpSpPr>
          <a:xfrm>
            <a:off x="942798" y="2922307"/>
            <a:ext cx="907301" cy="686956"/>
            <a:chOff x="539552" y="2929508"/>
            <a:chExt cx="1008112" cy="763284"/>
          </a:xfrm>
        </p:grpSpPr>
        <p:cxnSp>
          <p:nvCxnSpPr>
            <p:cNvPr id="11" name="Straight Arrow Connector 10">
              <a:extLst>
                <a:ext uri="{FF2B5EF4-FFF2-40B4-BE49-F238E27FC236}">
                  <a16:creationId xmlns:a16="http://schemas.microsoft.com/office/drawing/2014/main" id="{686F6EDC-3854-4A32-BB95-D42870CEDD8F}"/>
                </a:ext>
              </a:extLst>
            </p:cNvPr>
            <p:cNvCxnSpPr>
              <a:cxnSpLocks/>
              <a:endCxn id="4" idx="2"/>
            </p:cNvCxnSpPr>
            <p:nvPr/>
          </p:nvCxnSpPr>
          <p:spPr>
            <a:xfrm flipV="1">
              <a:off x="927738" y="2929508"/>
              <a:ext cx="2240" cy="7632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0D691C92-374D-4668-9651-6A63F2DB9FB5}"/>
                </a:ext>
              </a:extLst>
            </p:cNvPr>
            <p:cNvSpPr txBox="1"/>
            <p:nvPr/>
          </p:nvSpPr>
          <p:spPr>
            <a:xfrm>
              <a:off x="539552" y="3136240"/>
              <a:ext cx="1008112" cy="379591"/>
            </a:xfrm>
            <a:prstGeom prst="rect">
              <a:avLst/>
            </a:prstGeom>
            <a:noFill/>
          </p:spPr>
          <p:txBody>
            <a:bodyPr wrap="square" rtlCol="0">
              <a:spAutoFit/>
            </a:bodyPr>
            <a:lstStyle/>
            <a:p>
              <a:r>
                <a:rPr lang="en-AU" sz="1620" dirty="0"/>
                <a:t>TX</a:t>
              </a:r>
            </a:p>
          </p:txBody>
        </p:sp>
      </p:grpSp>
    </p:spTree>
    <p:extLst>
      <p:ext uri="{BB962C8B-B14F-4D97-AF65-F5344CB8AC3E}">
        <p14:creationId xmlns:p14="http://schemas.microsoft.com/office/powerpoint/2010/main" val="1139299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Pull Payment</a:t>
            </a:r>
          </a:p>
        </p:txBody>
      </p:sp>
      <p:sp>
        <p:nvSpPr>
          <p:cNvPr id="3" name="Content Placeholder 2"/>
          <p:cNvSpPr>
            <a:spLocks noGrp="1"/>
          </p:cNvSpPr>
          <p:nvPr>
            <p:ph idx="1"/>
          </p:nvPr>
        </p:nvSpPr>
        <p:spPr>
          <a:xfrm>
            <a:off x="648000" y="1167359"/>
            <a:ext cx="7897794" cy="3996642"/>
          </a:xfrm>
        </p:spPr>
        <p:txBody>
          <a:bodyPr numCol="2">
            <a:noAutofit/>
          </a:bodyPr>
          <a:lstStyle/>
          <a:p>
            <a:r>
              <a:rPr lang="en-US" sz="1800" b="1" dirty="0">
                <a:solidFill>
                  <a:schemeClr val="accent1"/>
                </a:solidFill>
              </a:rPr>
              <a:t>Summary</a:t>
            </a:r>
            <a:r>
              <a:rPr lang="en-US" sz="1800" dirty="0"/>
              <a:t> </a:t>
            </a:r>
          </a:p>
          <a:p>
            <a:pPr lvl="1"/>
            <a:r>
              <a:rPr lang="en-AU" sz="1800" dirty="0"/>
              <a:t>Let payment receiver withdraw funds from sender</a:t>
            </a:r>
            <a:endParaRPr lang="en-US" sz="1800" dirty="0"/>
          </a:p>
          <a:p>
            <a:r>
              <a:rPr lang="en-US" sz="1800" b="1" dirty="0">
                <a:solidFill>
                  <a:schemeClr val="accent1"/>
                </a:solidFill>
              </a:rPr>
              <a:t>Context</a:t>
            </a:r>
          </a:p>
          <a:p>
            <a:pPr lvl="1"/>
            <a:r>
              <a:rPr lang="en-US" sz="1800" dirty="0"/>
              <a:t>SC wants to transfer funds to another address</a:t>
            </a:r>
          </a:p>
          <a:p>
            <a:pPr lvl="2"/>
            <a:r>
              <a:rPr lang="en-AU" sz="1800" dirty="0" err="1">
                <a:solidFill>
                  <a:srgbClr val="000000"/>
                </a:solidFill>
              </a:rPr>
              <a:t>address.send</a:t>
            </a:r>
            <a:r>
              <a:rPr lang="en-AU" sz="1800" dirty="0">
                <a:solidFill>
                  <a:srgbClr val="000000"/>
                </a:solidFill>
              </a:rPr>
              <a:t>(value) – 2,300 gas limit</a:t>
            </a:r>
          </a:p>
          <a:p>
            <a:pPr lvl="2"/>
            <a:r>
              <a:rPr lang="en-AU" sz="1800" dirty="0" err="1">
                <a:solidFill>
                  <a:srgbClr val="000000"/>
                </a:solidFill>
              </a:rPr>
              <a:t>address.transfer</a:t>
            </a:r>
            <a:r>
              <a:rPr lang="en-AU" sz="1800" dirty="0">
                <a:solidFill>
                  <a:srgbClr val="000000"/>
                </a:solidFill>
              </a:rPr>
              <a:t>(value) – 2,300 gas limit</a:t>
            </a:r>
          </a:p>
          <a:p>
            <a:pPr lvl="2"/>
            <a:r>
              <a:rPr lang="en-AU" sz="1800" dirty="0" err="1">
                <a:solidFill>
                  <a:srgbClr val="000000"/>
                </a:solidFill>
              </a:rPr>
              <a:t>address.call.value</a:t>
            </a:r>
            <a:r>
              <a:rPr lang="en-AU" sz="1800" dirty="0">
                <a:solidFill>
                  <a:srgbClr val="000000"/>
                </a:solidFill>
              </a:rPr>
              <a:t>(value) – all available gas or set limit</a:t>
            </a:r>
            <a:r>
              <a:rPr lang="en-US" sz="1800" dirty="0"/>
              <a:t> </a:t>
            </a:r>
          </a:p>
          <a:p>
            <a:pPr lvl="1"/>
            <a:r>
              <a:rPr lang="en-AU" sz="1800" dirty="0"/>
              <a:t>Send operation can fail when it calls </a:t>
            </a:r>
            <a:r>
              <a:rPr lang="en-AU" sz="1800" i="1" dirty="0"/>
              <a:t>fallback</a:t>
            </a:r>
            <a:r>
              <a:rPr lang="en-AU" sz="1800" dirty="0"/>
              <a:t> function on receiver </a:t>
            </a:r>
            <a:endParaRPr lang="en-AU" sz="1800" dirty="0">
              <a:solidFill>
                <a:srgbClr val="000000"/>
              </a:solidFill>
            </a:endParaRPr>
          </a:p>
          <a:p>
            <a:r>
              <a:rPr lang="en-US" sz="1800" b="1" dirty="0">
                <a:solidFill>
                  <a:srgbClr val="00A9CE"/>
                </a:solidFill>
              </a:rPr>
              <a:t>Problem</a:t>
            </a:r>
            <a:endParaRPr lang="en-US" sz="1800" dirty="0">
              <a:solidFill>
                <a:srgbClr val="00A9CE"/>
              </a:solidFill>
            </a:endParaRPr>
          </a:p>
          <a:p>
            <a:pPr lvl="1"/>
            <a:r>
              <a:rPr lang="en-AU" sz="1800" dirty="0"/>
              <a:t>When a SC calls another SC, it hands over control to that SC</a:t>
            </a:r>
          </a:p>
          <a:p>
            <a:pPr lvl="1"/>
            <a:r>
              <a:rPr lang="en-AU" sz="1800" dirty="0"/>
              <a:t>How to prevent callee SC from re-entering called SC &amp; trying to manipulate its state or hijack control?</a:t>
            </a:r>
          </a:p>
          <a:p>
            <a:r>
              <a:rPr lang="en-US" sz="1800" b="1" dirty="0">
                <a:solidFill>
                  <a:srgbClr val="00A9CE"/>
                </a:solidFill>
              </a:rPr>
              <a:t>Forces</a:t>
            </a:r>
          </a:p>
          <a:p>
            <a:pPr lvl="1"/>
            <a:r>
              <a:rPr lang="en-US" sz="1800" dirty="0">
                <a:solidFill>
                  <a:srgbClr val="000000"/>
                </a:solidFill>
              </a:rPr>
              <a:t>It’s risky to handover control to contracts that are not under your control</a:t>
            </a:r>
          </a:p>
          <a:p>
            <a:pPr lvl="2"/>
            <a:r>
              <a:rPr lang="en-US" sz="1800" dirty="0">
                <a:solidFill>
                  <a:srgbClr val="000000"/>
                </a:solidFill>
              </a:rPr>
              <a:t>E.g., </a:t>
            </a:r>
            <a:r>
              <a:rPr lang="en-AU" sz="1800" dirty="0">
                <a:solidFill>
                  <a:srgbClr val="000000"/>
                </a:solidFill>
              </a:rPr>
              <a:t>re-entrancy attack</a:t>
            </a:r>
            <a:endParaRPr lang="en-US" sz="1800" dirty="0">
              <a:solidFill>
                <a:srgbClr val="000000"/>
              </a:solidFill>
            </a:endParaRPr>
          </a:p>
          <a:p>
            <a:pPr lvl="1"/>
            <a:r>
              <a:rPr lang="en-US" sz="1800" dirty="0"/>
              <a:t>Who pay TX fee?</a:t>
            </a:r>
          </a:p>
        </p:txBody>
      </p:sp>
      <p:sp>
        <p:nvSpPr>
          <p:cNvPr id="6" name="Slide Number Placeholder 5"/>
          <p:cNvSpPr>
            <a:spLocks noGrp="1"/>
          </p:cNvSpPr>
          <p:nvPr>
            <p:ph type="sldNum" sz="quarter" idx="12"/>
          </p:nvPr>
        </p:nvSpPr>
        <p:spPr>
          <a:xfrm>
            <a:off x="253577" y="4878250"/>
            <a:ext cx="288789" cy="9551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F7CBAA-22EA-41CE-9725-C57ED0CEBC27}" type="slidenum">
              <a:rPr lang="en-AU" smtClean="0"/>
              <a:pPr/>
              <a:t>22</a:t>
            </a:fld>
            <a:r>
              <a:rPr lang="en-AU"/>
              <a:t>  |</a:t>
            </a:r>
            <a:endParaRPr lang="en-AU" dirty="0"/>
          </a:p>
        </p:txBody>
      </p:sp>
    </p:spTree>
    <p:extLst>
      <p:ext uri="{BB962C8B-B14F-4D97-AF65-F5344CB8AC3E}">
        <p14:creationId xmlns:p14="http://schemas.microsoft.com/office/powerpoint/2010/main" val="28233550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F52E50F-35E3-432F-BF64-9A2E25DF24C8}"/>
              </a:ext>
            </a:extLst>
          </p:cNvPr>
          <p:cNvSpPr>
            <a:spLocks noGrp="1"/>
          </p:cNvSpPr>
          <p:nvPr>
            <p:ph type="sldNum" sz="quarter" idx="12"/>
          </p:nvPr>
        </p:nvSpPr>
        <p:spPr>
          <a:xfrm>
            <a:off x="253577" y="4878250"/>
            <a:ext cx="288789" cy="9551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F7CBAA-22EA-41CE-9725-C57ED0CEBC27}" type="slidenum">
              <a:rPr lang="en-AU" smtClean="0"/>
              <a:pPr/>
              <a:t>23</a:t>
            </a:fld>
            <a:r>
              <a:rPr lang="en-AU"/>
              <a:t>  |</a:t>
            </a:r>
            <a:endParaRPr lang="en-AU" dirty="0"/>
          </a:p>
        </p:txBody>
      </p:sp>
      <p:pic>
        <p:nvPicPr>
          <p:cNvPr id="7" name="Picture 6">
            <a:extLst>
              <a:ext uri="{FF2B5EF4-FFF2-40B4-BE49-F238E27FC236}">
                <a16:creationId xmlns:a16="http://schemas.microsoft.com/office/drawing/2014/main" id="{C68D0454-7CDC-4227-B24B-9F385B39112E}"/>
              </a:ext>
            </a:extLst>
          </p:cNvPr>
          <p:cNvPicPr>
            <a:picLocks noChangeAspect="1"/>
          </p:cNvPicPr>
          <p:nvPr/>
        </p:nvPicPr>
        <p:blipFill rotWithShape="1">
          <a:blip r:embed="rId3"/>
          <a:srcRect r="30020"/>
          <a:stretch/>
        </p:blipFill>
        <p:spPr>
          <a:xfrm>
            <a:off x="521482" y="1316097"/>
            <a:ext cx="3888432" cy="3014970"/>
          </a:xfrm>
          <a:prstGeom prst="rect">
            <a:avLst/>
          </a:prstGeom>
        </p:spPr>
      </p:pic>
      <p:sp>
        <p:nvSpPr>
          <p:cNvPr id="3" name="Rectangle: Rounded Corners 2">
            <a:extLst>
              <a:ext uri="{FF2B5EF4-FFF2-40B4-BE49-F238E27FC236}">
                <a16:creationId xmlns:a16="http://schemas.microsoft.com/office/drawing/2014/main" id="{31400361-F16B-4074-A749-FAE1236CEA7E}"/>
              </a:ext>
            </a:extLst>
          </p:cNvPr>
          <p:cNvSpPr/>
          <p:nvPr/>
        </p:nvSpPr>
        <p:spPr>
          <a:xfrm>
            <a:off x="5414494" y="3100142"/>
            <a:ext cx="680400" cy="34714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60" dirty="0"/>
              <a:t>Caller</a:t>
            </a:r>
          </a:p>
        </p:txBody>
      </p:sp>
      <p:sp>
        <p:nvSpPr>
          <p:cNvPr id="8" name="Rectangle: Rounded Corners 7">
            <a:extLst>
              <a:ext uri="{FF2B5EF4-FFF2-40B4-BE49-F238E27FC236}">
                <a16:creationId xmlns:a16="http://schemas.microsoft.com/office/drawing/2014/main" id="{AEEE1FEF-4544-43F7-999D-B19EF0D64356}"/>
              </a:ext>
            </a:extLst>
          </p:cNvPr>
          <p:cNvSpPr/>
          <p:nvPr/>
        </p:nvSpPr>
        <p:spPr>
          <a:xfrm>
            <a:off x="7099481" y="3100142"/>
            <a:ext cx="680906" cy="34714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60" dirty="0" err="1"/>
              <a:t>Callee</a:t>
            </a:r>
            <a:endParaRPr lang="en-AU" sz="1260" dirty="0"/>
          </a:p>
        </p:txBody>
      </p:sp>
      <p:grpSp>
        <p:nvGrpSpPr>
          <p:cNvPr id="14" name="Group 13">
            <a:extLst>
              <a:ext uri="{FF2B5EF4-FFF2-40B4-BE49-F238E27FC236}">
                <a16:creationId xmlns:a16="http://schemas.microsoft.com/office/drawing/2014/main" id="{794CB43B-2CCC-4783-A288-C9DBDB303974}"/>
              </a:ext>
            </a:extLst>
          </p:cNvPr>
          <p:cNvGrpSpPr/>
          <p:nvPr/>
        </p:nvGrpSpPr>
        <p:grpSpPr>
          <a:xfrm>
            <a:off x="5636614" y="3457225"/>
            <a:ext cx="2122474" cy="1102826"/>
            <a:chOff x="5754905" y="3523860"/>
            <a:chExt cx="2358304" cy="1225362"/>
          </a:xfrm>
        </p:grpSpPr>
        <p:sp>
          <p:nvSpPr>
            <p:cNvPr id="4" name="Freeform: Shape 3">
              <a:extLst>
                <a:ext uri="{FF2B5EF4-FFF2-40B4-BE49-F238E27FC236}">
                  <a16:creationId xmlns:a16="http://schemas.microsoft.com/office/drawing/2014/main" id="{DE91BD44-1FF4-4685-A840-38527E4C1A25}"/>
                </a:ext>
              </a:extLst>
            </p:cNvPr>
            <p:cNvSpPr/>
            <p:nvPr/>
          </p:nvSpPr>
          <p:spPr>
            <a:xfrm>
              <a:off x="6045692" y="3523860"/>
              <a:ext cx="1622651" cy="557776"/>
            </a:xfrm>
            <a:custGeom>
              <a:avLst/>
              <a:gdLst>
                <a:gd name="connsiteX0" fmla="*/ 0 w 1553592"/>
                <a:gd name="connsiteY0" fmla="*/ 0 h 399495"/>
                <a:gd name="connsiteX1" fmla="*/ 798990 w 1553592"/>
                <a:gd name="connsiteY1" fmla="*/ 399495 h 399495"/>
                <a:gd name="connsiteX2" fmla="*/ 1553592 w 1553592"/>
                <a:gd name="connsiteY2" fmla="*/ 0 h 399495"/>
              </a:gdLst>
              <a:ahLst/>
              <a:cxnLst>
                <a:cxn ang="0">
                  <a:pos x="connsiteX0" y="connsiteY0"/>
                </a:cxn>
                <a:cxn ang="0">
                  <a:pos x="connsiteX1" y="connsiteY1"/>
                </a:cxn>
                <a:cxn ang="0">
                  <a:pos x="connsiteX2" y="connsiteY2"/>
                </a:cxn>
              </a:cxnLst>
              <a:rect l="l" t="t" r="r" b="b"/>
              <a:pathLst>
                <a:path w="1553592" h="399495">
                  <a:moveTo>
                    <a:pt x="0" y="0"/>
                  </a:moveTo>
                  <a:cubicBezTo>
                    <a:pt x="270029" y="199747"/>
                    <a:pt x="540058" y="399495"/>
                    <a:pt x="798990" y="399495"/>
                  </a:cubicBezTo>
                  <a:cubicBezTo>
                    <a:pt x="1057922" y="399495"/>
                    <a:pt x="1305757" y="199747"/>
                    <a:pt x="1553592" y="0"/>
                  </a:cubicBezTo>
                </a:path>
              </a:pathLst>
            </a:custGeom>
            <a:noFill/>
            <a:ln>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a:p>
          </p:txBody>
        </p:sp>
        <p:sp>
          <p:nvSpPr>
            <p:cNvPr id="11" name="TextBox 10">
              <a:extLst>
                <a:ext uri="{FF2B5EF4-FFF2-40B4-BE49-F238E27FC236}">
                  <a16:creationId xmlns:a16="http://schemas.microsoft.com/office/drawing/2014/main" id="{560E6DB1-D8F2-4A9C-AD14-47C0875BAEC2}"/>
                </a:ext>
              </a:extLst>
            </p:cNvPr>
            <p:cNvSpPr txBox="1"/>
            <p:nvPr/>
          </p:nvSpPr>
          <p:spPr>
            <a:xfrm>
              <a:off x="5754905" y="4154187"/>
              <a:ext cx="2358304" cy="595035"/>
            </a:xfrm>
            <a:prstGeom prst="rect">
              <a:avLst/>
            </a:prstGeom>
            <a:noFill/>
          </p:spPr>
          <p:txBody>
            <a:bodyPr wrap="square" rtlCol="0">
              <a:spAutoFit/>
            </a:bodyPr>
            <a:lstStyle/>
            <a:p>
              <a:pPr algn="ctr"/>
              <a:r>
                <a:rPr lang="en-AU" sz="1440" dirty="0"/>
                <a:t>Call or delegated call with </a:t>
              </a:r>
              <a:r>
                <a:rPr lang="en-AU" sz="1440" dirty="0" err="1"/>
                <a:t>msg.send</a:t>
              </a:r>
              <a:r>
                <a:rPr lang="en-AU" sz="1440" dirty="0"/>
                <a:t> = caller</a:t>
              </a:r>
            </a:p>
          </p:txBody>
        </p:sp>
      </p:grpSp>
      <p:grpSp>
        <p:nvGrpSpPr>
          <p:cNvPr id="15" name="Group 14">
            <a:extLst>
              <a:ext uri="{FF2B5EF4-FFF2-40B4-BE49-F238E27FC236}">
                <a16:creationId xmlns:a16="http://schemas.microsoft.com/office/drawing/2014/main" id="{AE642F3B-ACFC-46A7-B168-1A2BF70F9777}"/>
              </a:ext>
            </a:extLst>
          </p:cNvPr>
          <p:cNvGrpSpPr/>
          <p:nvPr/>
        </p:nvGrpSpPr>
        <p:grpSpPr>
          <a:xfrm>
            <a:off x="5636614" y="1939990"/>
            <a:ext cx="2122474" cy="1150216"/>
            <a:chOff x="5754905" y="1838044"/>
            <a:chExt cx="2358304" cy="1278018"/>
          </a:xfrm>
        </p:grpSpPr>
        <p:sp>
          <p:nvSpPr>
            <p:cNvPr id="9" name="Freeform: Shape 8">
              <a:extLst>
                <a:ext uri="{FF2B5EF4-FFF2-40B4-BE49-F238E27FC236}">
                  <a16:creationId xmlns:a16="http://schemas.microsoft.com/office/drawing/2014/main" id="{A6B42A94-C851-4B78-861C-187DD81718FE}"/>
                </a:ext>
              </a:extLst>
            </p:cNvPr>
            <p:cNvSpPr/>
            <p:nvPr/>
          </p:nvSpPr>
          <p:spPr>
            <a:xfrm>
              <a:off x="6054571" y="2459095"/>
              <a:ext cx="1526959" cy="656967"/>
            </a:xfrm>
            <a:custGeom>
              <a:avLst/>
              <a:gdLst>
                <a:gd name="connsiteX0" fmla="*/ 1526959 w 1526959"/>
                <a:gd name="connsiteY0" fmla="*/ 639212 h 656967"/>
                <a:gd name="connsiteX1" fmla="*/ 834501 w 1526959"/>
                <a:gd name="connsiteY1" fmla="*/ 20 h 656967"/>
                <a:gd name="connsiteX2" fmla="*/ 0 w 1526959"/>
                <a:gd name="connsiteY2" fmla="*/ 656967 h 656967"/>
              </a:gdLst>
              <a:ahLst/>
              <a:cxnLst>
                <a:cxn ang="0">
                  <a:pos x="connsiteX0" y="connsiteY0"/>
                </a:cxn>
                <a:cxn ang="0">
                  <a:pos x="connsiteX1" y="connsiteY1"/>
                </a:cxn>
                <a:cxn ang="0">
                  <a:pos x="connsiteX2" y="connsiteY2"/>
                </a:cxn>
              </a:cxnLst>
              <a:rect l="l" t="t" r="r" b="b"/>
              <a:pathLst>
                <a:path w="1526959" h="656967">
                  <a:moveTo>
                    <a:pt x="1526959" y="639212"/>
                  </a:moveTo>
                  <a:cubicBezTo>
                    <a:pt x="1307976" y="318136"/>
                    <a:pt x="1088994" y="-2939"/>
                    <a:pt x="834501" y="20"/>
                  </a:cubicBezTo>
                  <a:cubicBezTo>
                    <a:pt x="580008" y="2979"/>
                    <a:pt x="82858" y="600742"/>
                    <a:pt x="0" y="656967"/>
                  </a:cubicBezTo>
                </a:path>
              </a:pathLst>
            </a:custGeom>
            <a:noFill/>
            <a:ln>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20"/>
            </a:p>
          </p:txBody>
        </p:sp>
        <p:sp>
          <p:nvSpPr>
            <p:cNvPr id="13" name="TextBox 12">
              <a:extLst>
                <a:ext uri="{FF2B5EF4-FFF2-40B4-BE49-F238E27FC236}">
                  <a16:creationId xmlns:a16="http://schemas.microsoft.com/office/drawing/2014/main" id="{E208399C-ED3E-431B-9DB8-6BF17F67BFF4}"/>
                </a:ext>
              </a:extLst>
            </p:cNvPr>
            <p:cNvSpPr txBox="1"/>
            <p:nvPr/>
          </p:nvSpPr>
          <p:spPr>
            <a:xfrm>
              <a:off x="5754905" y="1838044"/>
              <a:ext cx="2358304" cy="595035"/>
            </a:xfrm>
            <a:prstGeom prst="rect">
              <a:avLst/>
            </a:prstGeom>
            <a:noFill/>
          </p:spPr>
          <p:txBody>
            <a:bodyPr wrap="square" rtlCol="0">
              <a:spAutoFit/>
            </a:bodyPr>
            <a:lstStyle/>
            <a:p>
              <a:pPr algn="ctr"/>
              <a:r>
                <a:rPr lang="en-AU" sz="1440" dirty="0"/>
                <a:t>Delegated call with </a:t>
              </a:r>
              <a:r>
                <a:rPr lang="en-AU" sz="1440" dirty="0" err="1"/>
                <a:t>msg.send</a:t>
              </a:r>
              <a:r>
                <a:rPr lang="en-AU" sz="1440" dirty="0"/>
                <a:t> = caller</a:t>
              </a:r>
            </a:p>
          </p:txBody>
        </p:sp>
      </p:grpSp>
      <p:sp>
        <p:nvSpPr>
          <p:cNvPr id="2" name="Title 1">
            <a:extLst>
              <a:ext uri="{FF2B5EF4-FFF2-40B4-BE49-F238E27FC236}">
                <a16:creationId xmlns:a16="http://schemas.microsoft.com/office/drawing/2014/main" id="{59EC895B-0C55-4856-8333-D0C0F1076BB2}"/>
              </a:ext>
            </a:extLst>
          </p:cNvPr>
          <p:cNvSpPr>
            <a:spLocks noGrp="1"/>
          </p:cNvSpPr>
          <p:nvPr>
            <p:ph type="title"/>
          </p:nvPr>
        </p:nvSpPr>
        <p:spPr/>
        <p:txBody>
          <a:bodyPr>
            <a:normAutofit fontScale="90000"/>
          </a:bodyPr>
          <a:lstStyle/>
          <a:p>
            <a:r>
              <a:rPr lang="en-US" dirty="0"/>
              <a:t>Pull Payment (Cont.)</a:t>
            </a:r>
            <a:endParaRPr lang="en-AU" dirty="0"/>
          </a:p>
        </p:txBody>
      </p:sp>
      <p:pic>
        <p:nvPicPr>
          <p:cNvPr id="10" name="Picture 9">
            <a:extLst>
              <a:ext uri="{FF2B5EF4-FFF2-40B4-BE49-F238E27FC236}">
                <a16:creationId xmlns:a16="http://schemas.microsoft.com/office/drawing/2014/main" id="{DFE79D74-AD16-4A6F-ADAE-A4644062C4C7}"/>
              </a:ext>
            </a:extLst>
          </p:cNvPr>
          <p:cNvPicPr>
            <a:picLocks noChangeAspect="1"/>
          </p:cNvPicPr>
          <p:nvPr/>
        </p:nvPicPr>
        <p:blipFill>
          <a:blip r:embed="rId4"/>
          <a:stretch>
            <a:fillRect/>
          </a:stretch>
        </p:blipFill>
        <p:spPr>
          <a:xfrm>
            <a:off x="4463018" y="1057300"/>
            <a:ext cx="4152623" cy="3888000"/>
          </a:xfrm>
          <a:prstGeom prst="rect">
            <a:avLst/>
          </a:prstGeom>
        </p:spPr>
      </p:pic>
    </p:spTree>
    <p:extLst>
      <p:ext uri="{BB962C8B-B14F-4D97-AF65-F5344CB8AC3E}">
        <p14:creationId xmlns:p14="http://schemas.microsoft.com/office/powerpoint/2010/main" val="3952614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numCol="2">
            <a:normAutofit/>
          </a:bodyPr>
          <a:lstStyle/>
          <a:p>
            <a:r>
              <a:rPr lang="en-US" altLang="zh-CN" sz="2000" b="1" dirty="0">
                <a:solidFill>
                  <a:srgbClr val="00A9CE"/>
                </a:solidFill>
              </a:rPr>
              <a:t>Solution</a:t>
            </a:r>
          </a:p>
          <a:p>
            <a:pPr lvl="1"/>
            <a:r>
              <a:rPr lang="en-AU" sz="1800" dirty="0"/>
              <a:t>Let receiver of a payment withdraw funds</a:t>
            </a:r>
          </a:p>
          <a:p>
            <a:pPr lvl="1"/>
            <a:r>
              <a:rPr lang="en-AU" sz="1800" dirty="0"/>
              <a:t>Track funds to be released separately &amp; provide a withdraw funds</a:t>
            </a:r>
          </a:p>
          <a:p>
            <a:pPr lvl="1"/>
            <a:r>
              <a:rPr lang="en-AU" sz="1800" dirty="0"/>
              <a:t>Make sure to update state before calling </a:t>
            </a:r>
            <a:r>
              <a:rPr lang="en-AU" sz="1800" i="1" dirty="0">
                <a:latin typeface="Consolas" panose="020B0609020204030204" pitchFamily="49" charset="0"/>
                <a:cs typeface="Consolas" panose="020B0609020204030204" pitchFamily="49" charset="0"/>
              </a:rPr>
              <a:t>transfer</a:t>
            </a:r>
            <a:r>
              <a:rPr lang="en-AU" sz="1800" dirty="0"/>
              <a:t>()</a:t>
            </a:r>
            <a:endParaRPr lang="en-US" sz="1800" dirty="0"/>
          </a:p>
          <a:p>
            <a:r>
              <a:rPr lang="en-US" sz="2000" b="1" dirty="0">
                <a:solidFill>
                  <a:srgbClr val="00A9CE"/>
                </a:solidFill>
              </a:rPr>
              <a:t>Consequences</a:t>
            </a:r>
          </a:p>
          <a:p>
            <a:pPr lvl="1"/>
            <a:r>
              <a:rPr lang="en-US" sz="1800" dirty="0"/>
              <a:t>Enhanced security</a:t>
            </a:r>
          </a:p>
          <a:p>
            <a:pPr lvl="1"/>
            <a:r>
              <a:rPr lang="en-US" sz="1800" dirty="0"/>
              <a:t>Convivence</a:t>
            </a:r>
          </a:p>
          <a:p>
            <a:pPr lvl="2"/>
            <a:r>
              <a:rPr lang="en-US" sz="1800" dirty="0"/>
              <a:t>E.g., previous highest bidder not explicitly informed</a:t>
            </a:r>
          </a:p>
          <a:p>
            <a:pPr lvl="1"/>
            <a:r>
              <a:rPr lang="en-US" sz="1800" dirty="0"/>
              <a:t>More complex code</a:t>
            </a:r>
            <a:endParaRPr lang="en-US" dirty="0"/>
          </a:p>
          <a:p>
            <a:pPr lvl="1"/>
            <a:endParaRPr lang="en-US" dirty="0"/>
          </a:p>
          <a:p>
            <a:pPr lvl="1"/>
            <a:endParaRPr lang="en-US" dirty="0"/>
          </a:p>
          <a:p>
            <a:pPr lvl="1"/>
            <a:endParaRPr lang="en-US" b="1" dirty="0">
              <a:solidFill>
                <a:schemeClr val="accent1"/>
              </a:solidFill>
            </a:endParaRPr>
          </a:p>
        </p:txBody>
      </p:sp>
      <p:sp>
        <p:nvSpPr>
          <p:cNvPr id="10" name="Title 1"/>
          <p:cNvSpPr>
            <a:spLocks noGrp="1"/>
          </p:cNvSpPr>
          <p:nvPr>
            <p:ph type="title"/>
          </p:nvPr>
        </p:nvSpPr>
        <p:spPr/>
        <p:txBody>
          <a:bodyPr/>
          <a:lstStyle/>
          <a:p>
            <a:r>
              <a:rPr lang="en-US" dirty="0"/>
              <a:t>Pull Payment (Cont.)</a:t>
            </a:r>
          </a:p>
        </p:txBody>
      </p:sp>
      <p:sp>
        <p:nvSpPr>
          <p:cNvPr id="8" name="Slide Number Placeholder 7"/>
          <p:cNvSpPr>
            <a:spLocks noGrp="1"/>
          </p:cNvSpPr>
          <p:nvPr>
            <p:ph type="sldNum" sz="quarter" idx="11"/>
          </p:nvPr>
        </p:nvSpPr>
        <p:spPr>
          <a:xfrm>
            <a:off x="253577" y="4878250"/>
            <a:ext cx="288789" cy="9551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E124A-B5C5-46E0-B944-45307B126769}" type="slidenum">
              <a:rPr lang="en-AU" smtClean="0"/>
              <a:pPr/>
              <a:t>24</a:t>
            </a:fld>
            <a:r>
              <a:rPr lang="en-AU"/>
              <a:t>  |</a:t>
            </a:r>
            <a:endParaRPr lang="en-AU" dirty="0"/>
          </a:p>
        </p:txBody>
      </p:sp>
    </p:spTree>
    <p:extLst>
      <p:ext uri="{BB962C8B-B14F-4D97-AF65-F5344CB8AC3E}">
        <p14:creationId xmlns:p14="http://schemas.microsoft.com/office/powerpoint/2010/main" val="18663507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dirty="0">
                <a:solidFill>
                  <a:schemeClr val="bg1"/>
                </a:solidFill>
              </a:rPr>
              <a:t>Design Patterns</a:t>
            </a:r>
            <a:endParaRPr lang="en-US" dirty="0">
              <a:solidFill>
                <a:schemeClr val="bg1"/>
              </a:solidFill>
            </a:endParaRPr>
          </a:p>
        </p:txBody>
      </p:sp>
    </p:spTree>
    <p:extLst>
      <p:ext uri="{BB962C8B-B14F-4D97-AF65-F5344CB8AC3E}">
        <p14:creationId xmlns:p14="http://schemas.microsoft.com/office/powerpoint/2010/main" val="88818732"/>
      </p:ext>
    </p:extLst>
  </p:cSld>
  <p:clrMapOvr>
    <a:masterClrMapping/>
  </p:clrMapOvr>
  <mc:AlternateContent xmlns:mc="http://schemas.openxmlformats.org/markup-compatibility/2006" xmlns:p14="http://schemas.microsoft.com/office/powerpoint/2010/main">
    <mc:Choice Requires="p14">
      <p:transition spd="slow" p14:dur="2000" advTm="12859"/>
    </mc:Choice>
    <mc:Fallback xmlns="">
      <p:transition spd="slow" advTm="12859"/>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Buzz and Woody (Toy Story) Meme meme">
            <a:extLst>
              <a:ext uri="{FF2B5EF4-FFF2-40B4-BE49-F238E27FC236}">
                <a16:creationId xmlns:a16="http://schemas.microsoft.com/office/drawing/2014/main" id="{2613223C-5CD7-4F2A-9A41-B89B5ED023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7762" y="1511715"/>
            <a:ext cx="4266692" cy="232534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1B11A97D-3345-433C-B7AD-C028229AA4F0}"/>
              </a:ext>
            </a:extLst>
          </p:cNvPr>
          <p:cNvSpPr/>
          <p:nvPr/>
        </p:nvSpPr>
        <p:spPr>
          <a:xfrm>
            <a:off x="247762" y="4051938"/>
            <a:ext cx="2391489" cy="286232"/>
          </a:xfrm>
          <a:prstGeom prst="rect">
            <a:avLst/>
          </a:prstGeom>
        </p:spPr>
        <p:txBody>
          <a:bodyPr wrap="none">
            <a:spAutoFit/>
          </a:bodyPr>
          <a:lstStyle/>
          <a:p>
            <a:r>
              <a:rPr lang="en-AU" sz="1260" dirty="0"/>
              <a:t>Source: </a:t>
            </a:r>
            <a:r>
              <a:rPr lang="en-AU" sz="1260" dirty="0">
                <a:hlinkClick r:id="rId4"/>
              </a:rPr>
              <a:t>https://makeameme.org/</a:t>
            </a:r>
            <a:endParaRPr lang="en-AU" sz="1260" dirty="0"/>
          </a:p>
        </p:txBody>
      </p:sp>
      <p:sp>
        <p:nvSpPr>
          <p:cNvPr id="5" name="TextBox 4">
            <a:extLst>
              <a:ext uri="{FF2B5EF4-FFF2-40B4-BE49-F238E27FC236}">
                <a16:creationId xmlns:a16="http://schemas.microsoft.com/office/drawing/2014/main" id="{17191303-2679-474C-8872-CA595E6E17DD}"/>
              </a:ext>
            </a:extLst>
          </p:cNvPr>
          <p:cNvSpPr txBox="1"/>
          <p:nvPr/>
        </p:nvSpPr>
        <p:spPr>
          <a:xfrm>
            <a:off x="4572000" y="1205261"/>
            <a:ext cx="4274819" cy="3742050"/>
          </a:xfrm>
          <a:prstGeom prst="rect">
            <a:avLst/>
          </a:prstGeom>
          <a:noFill/>
        </p:spPr>
        <p:txBody>
          <a:bodyPr wrap="square" rtlCol="0">
            <a:spAutoFit/>
          </a:bodyPr>
          <a:lstStyle/>
          <a:p>
            <a:pPr marL="257175" indent="-257175">
              <a:spcBef>
                <a:spcPts val="540"/>
              </a:spcBef>
              <a:spcAft>
                <a:spcPts val="540"/>
              </a:spcAft>
              <a:buFont typeface="Arial" panose="020B0604020202020204" pitchFamily="34" charset="0"/>
              <a:buChar char="•"/>
            </a:pPr>
            <a:r>
              <a:rPr lang="en-AU" sz="1600" i="1" dirty="0"/>
              <a:t>“Patterns can help by trying to identify common solutions to recurring problems”</a:t>
            </a:r>
          </a:p>
          <a:p>
            <a:pPr marL="257175" indent="-257175">
              <a:spcBef>
                <a:spcPts val="540"/>
              </a:spcBef>
              <a:spcAft>
                <a:spcPts val="540"/>
              </a:spcAft>
              <a:buFont typeface="Arial" panose="020B0604020202020204" pitchFamily="34" charset="0"/>
              <a:buChar char="•"/>
            </a:pPr>
            <a:r>
              <a:rPr lang="en-AU" sz="1600" i="1" dirty="0"/>
              <a:t>“You can’t really understand a pattern without understanding the problem. Problem is essential to help us find a pattern when we need it”</a:t>
            </a:r>
          </a:p>
          <a:p>
            <a:pPr marL="257175" indent="-257175">
              <a:spcBef>
                <a:spcPts val="540"/>
              </a:spcBef>
              <a:spcAft>
                <a:spcPts val="540"/>
              </a:spcAft>
              <a:buFont typeface="Arial" panose="020B0604020202020204" pitchFamily="34" charset="0"/>
              <a:buChar char="•"/>
            </a:pPr>
            <a:r>
              <a:rPr lang="en-AU" sz="1600" i="1" dirty="0"/>
              <a:t>“Patterns are half-baked – you always have to finish them yourself &amp; adapt them to your own solution”</a:t>
            </a:r>
          </a:p>
          <a:p>
            <a:pPr marL="257175" indent="-257175">
              <a:spcBef>
                <a:spcPts val="540"/>
              </a:spcBef>
              <a:spcAft>
                <a:spcPts val="540"/>
              </a:spcAft>
              <a:buFont typeface="Arial" panose="020B0604020202020204" pitchFamily="34" charset="0"/>
              <a:buChar char="•"/>
            </a:pPr>
            <a:r>
              <a:rPr lang="en-AU" sz="1600" i="1" dirty="0"/>
              <a:t>“Patterns are not good or bad – rather, they’re either appropriate or not for some situations”</a:t>
            </a:r>
          </a:p>
          <a:p>
            <a:r>
              <a:rPr lang="en-AU" sz="1600" dirty="0"/>
              <a:t>Source: Martin Fowler, Patterns, </a:t>
            </a:r>
          </a:p>
          <a:p>
            <a:r>
              <a:rPr lang="en-AU" sz="1600" dirty="0"/>
              <a:t>IEEE Software, 2013</a:t>
            </a:r>
          </a:p>
        </p:txBody>
      </p:sp>
      <p:sp>
        <p:nvSpPr>
          <p:cNvPr id="2" name="Slide Number Placeholder 1">
            <a:extLst>
              <a:ext uri="{FF2B5EF4-FFF2-40B4-BE49-F238E27FC236}">
                <a16:creationId xmlns:a16="http://schemas.microsoft.com/office/drawing/2014/main" id="{E62062EA-3574-B6C9-A587-925AC34A8ECF}"/>
              </a:ext>
            </a:extLst>
          </p:cNvPr>
          <p:cNvSpPr>
            <a:spLocks noGrp="1"/>
          </p:cNvSpPr>
          <p:nvPr>
            <p:ph type="sldNum" sz="quarter" idx="4"/>
          </p:nvPr>
        </p:nvSpPr>
        <p:spPr>
          <a:xfrm>
            <a:off x="6712882" y="5368406"/>
            <a:ext cx="1855118" cy="224836"/>
          </a:xfrm>
        </p:spPr>
        <p:txBody>
          <a:bodyPr/>
          <a:lstStyle/>
          <a:p>
            <a:fld id="{2ABE124A-B5C5-46E0-B944-45307B126769}" type="slidenum">
              <a:rPr lang="en-AU" smtClean="0"/>
              <a:pPr/>
              <a:t>4</a:t>
            </a:fld>
            <a:r>
              <a:rPr lang="en-AU"/>
              <a:t>  |</a:t>
            </a:r>
            <a:endParaRPr lang="en-AU" dirty="0"/>
          </a:p>
        </p:txBody>
      </p:sp>
    </p:spTree>
    <p:extLst>
      <p:ext uri="{BB962C8B-B14F-4D97-AF65-F5344CB8AC3E}">
        <p14:creationId xmlns:p14="http://schemas.microsoft.com/office/powerpoint/2010/main" val="39175422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Content Placeholder 1"/>
          <p:cNvSpPr>
            <a:spLocks noGrp="1"/>
          </p:cNvSpPr>
          <p:nvPr>
            <p:ph idx="1"/>
          </p:nvPr>
        </p:nvSpPr>
        <p:spPr>
          <a:xfrm>
            <a:off x="647700" y="1273175"/>
            <a:ext cx="4994573" cy="3695700"/>
          </a:xfrm>
        </p:spPr>
        <p:txBody>
          <a:bodyPr>
            <a:noAutofit/>
          </a:bodyPr>
          <a:lstStyle/>
          <a:p>
            <a:r>
              <a:rPr lang="en-AU" sz="2400" dirty="0"/>
              <a:t>To solve a recurring problem in software development</a:t>
            </a:r>
          </a:p>
          <a:p>
            <a:r>
              <a:rPr lang="en-AU" sz="2400" dirty="0"/>
              <a:t>A description or template for how to solve a problem </a:t>
            </a:r>
          </a:p>
          <a:p>
            <a:pPr lvl="1"/>
            <a:r>
              <a:rPr lang="en-AU" sz="1800" dirty="0"/>
              <a:t>Not a finished design that can be transformed directly into code</a:t>
            </a:r>
          </a:p>
          <a:p>
            <a:pPr lvl="1"/>
            <a:r>
              <a:rPr lang="en-AU" sz="1800" dirty="0"/>
              <a:t>Define constraints that restrict roles of architectural elements &amp; interaction among them</a:t>
            </a:r>
          </a:p>
          <a:p>
            <a:pPr lvl="2"/>
            <a:r>
              <a:rPr lang="en-AU" sz="1800" dirty="0"/>
              <a:t>Processing, Connectors, Data</a:t>
            </a:r>
          </a:p>
          <a:p>
            <a:r>
              <a:rPr lang="en-AU" sz="2400" dirty="0"/>
              <a:t>Cause trade-offs among quality attributes</a:t>
            </a:r>
          </a:p>
        </p:txBody>
      </p:sp>
      <p:sp>
        <p:nvSpPr>
          <p:cNvPr id="2" name="Title 1"/>
          <p:cNvSpPr>
            <a:spLocks noGrp="1"/>
          </p:cNvSpPr>
          <p:nvPr>
            <p:ph type="title"/>
          </p:nvPr>
        </p:nvSpPr>
        <p:spPr>
          <a:xfrm>
            <a:off x="648000" y="287999"/>
            <a:ext cx="6631640" cy="648000"/>
          </a:xfrm>
        </p:spPr>
        <p:txBody>
          <a:bodyPr>
            <a:normAutofit/>
          </a:bodyPr>
          <a:lstStyle/>
          <a:p>
            <a:r>
              <a:rPr lang="en-US" altLang="zh-CN" dirty="0"/>
              <a:t>Design Patterns</a:t>
            </a:r>
            <a:endParaRPr lang="en-AU" dirty="0"/>
          </a:p>
        </p:txBody>
      </p:sp>
      <p:sp>
        <p:nvSpPr>
          <p:cNvPr id="4" name="Slide Number Placeholder 3"/>
          <p:cNvSpPr>
            <a:spLocks noGrp="1"/>
          </p:cNvSpPr>
          <p:nvPr>
            <p:ph type="sldNum" sz="quarter" idx="4294967295"/>
          </p:nvPr>
        </p:nvSpPr>
        <p:spPr>
          <a:xfrm>
            <a:off x="0" y="4878388"/>
            <a:ext cx="288925" cy="9525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E124A-B5C5-46E0-B944-45307B126769}" type="slidenum">
              <a:rPr lang="en-AU" smtClean="0"/>
              <a:pPr/>
              <a:t>5</a:t>
            </a:fld>
            <a:r>
              <a:rPr lang="en-AU"/>
              <a:t>  |</a:t>
            </a:r>
            <a:endParaRPr lang="en-AU" dirty="0"/>
          </a:p>
        </p:txBody>
      </p:sp>
      <p:pic>
        <p:nvPicPr>
          <p:cNvPr id="3" name="Picture 2" descr="Fig4-2PatternsAndStyles">
            <a:extLst>
              <a:ext uri="{FF2B5EF4-FFF2-40B4-BE49-F238E27FC236}">
                <a16:creationId xmlns:a16="http://schemas.microsoft.com/office/drawing/2014/main" id="{65ED0EF0-0EA4-C013-D130-E864015900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49776" y="1094009"/>
            <a:ext cx="3286721" cy="37509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1F5D76C2-FB64-294F-C68E-EB243D33251A}"/>
              </a:ext>
            </a:extLst>
          </p:cNvPr>
          <p:cNvSpPr txBox="1"/>
          <p:nvPr/>
        </p:nvSpPr>
        <p:spPr>
          <a:xfrm>
            <a:off x="5572344" y="4622402"/>
            <a:ext cx="3571656" cy="646331"/>
          </a:xfrm>
          <a:prstGeom prst="rect">
            <a:avLst/>
          </a:prstGeom>
          <a:noFill/>
        </p:spPr>
        <p:txBody>
          <a:bodyPr wrap="square">
            <a:spAutoFit/>
          </a:bodyPr>
          <a:lstStyle/>
          <a:p>
            <a:r>
              <a:rPr lang="en-US" sz="1200" dirty="0">
                <a:latin typeface="Calibri" panose="020F0502020204030204" pitchFamily="34" charset="0"/>
                <a:cs typeface="Calibri" panose="020F0502020204030204" pitchFamily="34" charset="0"/>
              </a:rPr>
              <a:t>Source: Software Architecture: Foundations, Theory, and Practice; Richard N. Taylor, Nenad Medvidovic, and Eric M. Dashofy; 2008. </a:t>
            </a:r>
          </a:p>
        </p:txBody>
      </p:sp>
    </p:spTree>
    <p:extLst>
      <p:ext uri="{BB962C8B-B14F-4D97-AF65-F5344CB8AC3E}">
        <p14:creationId xmlns:p14="http://schemas.microsoft.com/office/powerpoint/2010/main" val="33271373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Content Placeholder 1"/>
          <p:cNvSpPr>
            <a:spLocks noGrp="1"/>
          </p:cNvSpPr>
          <p:nvPr>
            <p:ph idx="1"/>
          </p:nvPr>
        </p:nvSpPr>
        <p:spPr>
          <a:xfrm>
            <a:off x="648001" y="1272399"/>
            <a:ext cx="7911799" cy="3695843"/>
          </a:xfrm>
        </p:spPr>
        <p:txBody>
          <a:bodyPr>
            <a:noAutofit/>
          </a:bodyPr>
          <a:lstStyle/>
          <a:p>
            <a:r>
              <a:rPr lang="en-AU" sz="2400" dirty="0"/>
              <a:t>Effective software design requires considering issues that may not become apparent until later stages</a:t>
            </a:r>
          </a:p>
          <a:p>
            <a:pPr lvl="1"/>
            <a:r>
              <a:rPr lang="en-AU" sz="1800" dirty="0"/>
              <a:t>Design patterns document efforts of experts</a:t>
            </a:r>
          </a:p>
          <a:p>
            <a:pPr lvl="1"/>
            <a:r>
              <a:rPr lang="en-AU" sz="1800" dirty="0"/>
              <a:t>Design patterns concern with a flexible software architecture</a:t>
            </a:r>
          </a:p>
          <a:p>
            <a:r>
              <a:rPr lang="en-AU" sz="2400" dirty="0"/>
              <a:t>By reusing patterns, we could prevent subtle errors &amp; enhance code readability</a:t>
            </a:r>
          </a:p>
          <a:p>
            <a:r>
              <a:rPr lang="en-AU" sz="2400" dirty="0"/>
              <a:t>Can speed up development process by providing tested, proven development paradigms</a:t>
            </a:r>
          </a:p>
          <a:p>
            <a:pPr lvl="1"/>
            <a:r>
              <a:rPr lang="en-US" sz="1800" dirty="0"/>
              <a:t>E.g., Gang of Four (</a:t>
            </a:r>
            <a:r>
              <a:rPr lang="en-US" sz="1800" dirty="0" err="1"/>
              <a:t>GoF</a:t>
            </a:r>
            <a:r>
              <a:rPr lang="en-US" sz="1800" dirty="0"/>
              <a:t>) object-oriented design patterns</a:t>
            </a:r>
          </a:p>
        </p:txBody>
      </p:sp>
      <p:sp>
        <p:nvSpPr>
          <p:cNvPr id="2" name="Title 1"/>
          <p:cNvSpPr>
            <a:spLocks noGrp="1"/>
          </p:cNvSpPr>
          <p:nvPr>
            <p:ph type="title"/>
          </p:nvPr>
        </p:nvSpPr>
        <p:spPr>
          <a:xfrm>
            <a:off x="648000" y="287999"/>
            <a:ext cx="6631640" cy="648000"/>
          </a:xfrm>
        </p:spPr>
        <p:txBody>
          <a:bodyPr>
            <a:normAutofit/>
          </a:bodyPr>
          <a:lstStyle/>
          <a:p>
            <a:r>
              <a:rPr lang="en-AU" altLang="zh-CN" dirty="0"/>
              <a:t>Advantages of Patterns</a:t>
            </a:r>
            <a:endParaRPr lang="en-AU" dirty="0"/>
          </a:p>
        </p:txBody>
      </p:sp>
      <p:sp>
        <p:nvSpPr>
          <p:cNvPr id="3" name="Slide Number Placeholder 2"/>
          <p:cNvSpPr>
            <a:spLocks noGrp="1"/>
          </p:cNvSpPr>
          <p:nvPr>
            <p:ph type="sldNum" sz="quarter" idx="4294967295"/>
          </p:nvPr>
        </p:nvSpPr>
        <p:spPr>
          <a:xfrm>
            <a:off x="0" y="4878388"/>
            <a:ext cx="288925" cy="9525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E124A-B5C5-46E0-B944-45307B126769}" type="slidenum">
              <a:rPr lang="en-AU" smtClean="0"/>
              <a:pPr/>
              <a:t>6</a:t>
            </a:fld>
            <a:r>
              <a:rPr lang="en-AU"/>
              <a:t>  |</a:t>
            </a:r>
            <a:endParaRPr lang="en-AU" dirty="0"/>
          </a:p>
        </p:txBody>
      </p:sp>
    </p:spTree>
    <p:extLst>
      <p:ext uri="{BB962C8B-B14F-4D97-AF65-F5344CB8AC3E}">
        <p14:creationId xmlns:p14="http://schemas.microsoft.com/office/powerpoint/2010/main" val="1483299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ssential Elements of a Pattern</a:t>
            </a:r>
          </a:p>
        </p:txBody>
      </p:sp>
      <p:sp>
        <p:nvSpPr>
          <p:cNvPr id="3" name="Slide Number Placeholder 2"/>
          <p:cNvSpPr>
            <a:spLocks noGrp="1"/>
          </p:cNvSpPr>
          <p:nvPr>
            <p:ph type="sldNum" sz="quarter" idx="11"/>
          </p:nvPr>
        </p:nvSpPr>
        <p:spPr/>
        <p:txBody>
          <a:bodyPr/>
          <a:lstStyle/>
          <a:p>
            <a:fld id="{FFF7CBAA-22EA-41CE-9725-C57ED0CEBC27}" type="slidenum">
              <a:rPr lang="en-AU" smtClean="0"/>
              <a:pPr/>
              <a:t>7</a:t>
            </a:fld>
            <a:r>
              <a:rPr lang="en-AU"/>
              <a:t>  |</a:t>
            </a:r>
            <a:endParaRPr lang="en-AU" dirty="0"/>
          </a:p>
        </p:txBody>
      </p:sp>
      <p:graphicFrame>
        <p:nvGraphicFramePr>
          <p:cNvPr id="7" name="Content Placeholder 6"/>
          <p:cNvGraphicFramePr>
            <a:graphicFrameLocks noGrp="1"/>
          </p:cNvGraphicFramePr>
          <p:nvPr>
            <p:ph idx="4294967295"/>
          </p:nvPr>
        </p:nvGraphicFramePr>
        <p:xfrm>
          <a:off x="460636" y="1184261"/>
          <a:ext cx="8222729" cy="37444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792833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D3C026D8-4110-947D-E240-E5D2A443EC49}"/>
              </a:ext>
            </a:extLst>
          </p:cNvPr>
          <p:cNvSpPr>
            <a:spLocks noGrp="1"/>
          </p:cNvSpPr>
          <p:nvPr>
            <p:ph idx="1"/>
          </p:nvPr>
        </p:nvSpPr>
        <p:spPr>
          <a:xfrm>
            <a:off x="647700" y="1273175"/>
            <a:ext cx="4308861" cy="3695700"/>
          </a:xfrm>
        </p:spPr>
        <p:txBody>
          <a:bodyPr>
            <a:normAutofit lnSpcReduction="10000"/>
          </a:bodyPr>
          <a:lstStyle/>
          <a:p>
            <a:r>
              <a:rPr lang="en-AU" dirty="0"/>
              <a:t>Summary</a:t>
            </a:r>
          </a:p>
          <a:p>
            <a:pPr lvl="1"/>
            <a:r>
              <a:rPr lang="en-AU" sz="1600" dirty="0"/>
              <a:t>1 - 2 sentence summary of pattern</a:t>
            </a:r>
          </a:p>
          <a:p>
            <a:r>
              <a:rPr lang="en-AU" dirty="0"/>
              <a:t>Context</a:t>
            </a:r>
          </a:p>
          <a:p>
            <a:pPr lvl="1"/>
            <a:r>
              <a:rPr lang="en-AU" sz="1600" dirty="0"/>
              <a:t>Context that the problem exists</a:t>
            </a:r>
          </a:p>
          <a:p>
            <a:r>
              <a:rPr lang="en-AU" dirty="0"/>
              <a:t>Forces</a:t>
            </a:r>
          </a:p>
          <a:p>
            <a:pPr lvl="1"/>
            <a:r>
              <a:rPr lang="en-AU" sz="1600" dirty="0"/>
              <a:t>What makes problem hard?</a:t>
            </a:r>
          </a:p>
          <a:p>
            <a:pPr lvl="1"/>
            <a:r>
              <a:rPr lang="en-AU" sz="1600" dirty="0"/>
              <a:t>Identified with quality attributes</a:t>
            </a:r>
          </a:p>
          <a:p>
            <a:r>
              <a:rPr lang="en-AU" dirty="0"/>
              <a:t>Consequences</a:t>
            </a:r>
          </a:p>
          <a:p>
            <a:pPr lvl="1"/>
            <a:r>
              <a:rPr lang="en-AU" sz="1600" dirty="0"/>
              <a:t>Trade-off between quality attributes</a:t>
            </a:r>
          </a:p>
          <a:p>
            <a:r>
              <a:rPr lang="en-AU" dirty="0"/>
              <a:t>Related patterns</a:t>
            </a:r>
          </a:p>
          <a:p>
            <a:pPr lvl="1"/>
            <a:r>
              <a:rPr lang="en-AU" sz="1600" dirty="0"/>
              <a:t>Other patterns that provide alternative solutions or work together</a:t>
            </a:r>
          </a:p>
        </p:txBody>
      </p:sp>
      <p:sp>
        <p:nvSpPr>
          <p:cNvPr id="8" name="Title 7">
            <a:extLst>
              <a:ext uri="{FF2B5EF4-FFF2-40B4-BE49-F238E27FC236}">
                <a16:creationId xmlns:a16="http://schemas.microsoft.com/office/drawing/2014/main" id="{C2B8ACB2-CADF-11F9-F9C4-A7857EBF6F2F}"/>
              </a:ext>
            </a:extLst>
          </p:cNvPr>
          <p:cNvSpPr>
            <a:spLocks noGrp="1"/>
          </p:cNvSpPr>
          <p:nvPr>
            <p:ph type="title"/>
          </p:nvPr>
        </p:nvSpPr>
        <p:spPr>
          <a:xfrm>
            <a:off x="648000" y="287999"/>
            <a:ext cx="6631640" cy="648000"/>
          </a:xfrm>
        </p:spPr>
        <p:txBody>
          <a:bodyPr/>
          <a:lstStyle/>
          <a:p>
            <a:r>
              <a:rPr lang="en-US" dirty="0"/>
              <a:t>Extended Pattern Form</a:t>
            </a:r>
            <a:endParaRPr lang="en-AU" dirty="0"/>
          </a:p>
        </p:txBody>
      </p:sp>
      <p:sp>
        <p:nvSpPr>
          <p:cNvPr id="3" name="Slide Number Placeholder 2">
            <a:extLst>
              <a:ext uri="{FF2B5EF4-FFF2-40B4-BE49-F238E27FC236}">
                <a16:creationId xmlns:a16="http://schemas.microsoft.com/office/drawing/2014/main" id="{B34A47EC-55A5-4247-24E2-ED0FE532F7F3}"/>
              </a:ext>
            </a:extLst>
          </p:cNvPr>
          <p:cNvSpPr>
            <a:spLocks noGrp="1"/>
          </p:cNvSpPr>
          <p:nvPr>
            <p:ph type="sldNum" sz="quarter" idx="4294967295"/>
          </p:nvPr>
        </p:nvSpPr>
        <p:spPr>
          <a:xfrm>
            <a:off x="0" y="4878388"/>
            <a:ext cx="288925" cy="9525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E124A-B5C5-46E0-B944-45307B126769}" type="slidenum">
              <a:rPr lang="en-AU" smtClean="0"/>
              <a:pPr/>
              <a:t>8</a:t>
            </a:fld>
            <a:r>
              <a:rPr lang="en-AU"/>
              <a:t>  |</a:t>
            </a:r>
            <a:endParaRPr lang="en-AU" dirty="0"/>
          </a:p>
        </p:txBody>
      </p:sp>
      <p:graphicFrame>
        <p:nvGraphicFramePr>
          <p:cNvPr id="9" name="Content Placeholder 3">
            <a:extLst>
              <a:ext uri="{FF2B5EF4-FFF2-40B4-BE49-F238E27FC236}">
                <a16:creationId xmlns:a16="http://schemas.microsoft.com/office/drawing/2014/main" id="{FB76E6C2-FB46-A215-D4B1-4F537029C35C}"/>
              </a:ext>
            </a:extLst>
          </p:cNvPr>
          <p:cNvGraphicFramePr>
            <a:graphicFrameLocks/>
          </p:cNvGraphicFramePr>
          <p:nvPr>
            <p:extLst>
              <p:ext uri="{D42A27DB-BD31-4B8C-83A1-F6EECF244321}">
                <p14:modId xmlns:p14="http://schemas.microsoft.com/office/powerpoint/2010/main" val="1581161431"/>
              </p:ext>
            </p:extLst>
          </p:nvPr>
        </p:nvGraphicFramePr>
        <p:xfrm>
          <a:off x="4726142" y="1111971"/>
          <a:ext cx="3892459" cy="39963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ctangle 9">
            <a:extLst>
              <a:ext uri="{FF2B5EF4-FFF2-40B4-BE49-F238E27FC236}">
                <a16:creationId xmlns:a16="http://schemas.microsoft.com/office/drawing/2014/main" id="{F303ECC2-BF4E-E386-1C79-D64F46019D39}"/>
              </a:ext>
            </a:extLst>
          </p:cNvPr>
          <p:cNvSpPr/>
          <p:nvPr/>
        </p:nvSpPr>
        <p:spPr>
          <a:xfrm>
            <a:off x="584201" y="4756763"/>
            <a:ext cx="4739830" cy="461665"/>
          </a:xfrm>
          <a:prstGeom prst="rect">
            <a:avLst/>
          </a:prstGeom>
        </p:spPr>
        <p:txBody>
          <a:bodyPr wrap="square">
            <a:spAutoFit/>
          </a:bodyPr>
          <a:lstStyle/>
          <a:p>
            <a:r>
              <a:rPr lang="en-US" sz="1200" dirty="0">
                <a:latin typeface="Helvetica"/>
                <a:cs typeface="Helvetica"/>
              </a:rPr>
              <a:t>* </a:t>
            </a:r>
            <a:r>
              <a:rPr lang="en-US" sz="1200" dirty="0" err="1">
                <a:latin typeface="Helvetica"/>
                <a:cs typeface="Helvetica"/>
              </a:rPr>
              <a:t>Meszaros</a:t>
            </a:r>
            <a:r>
              <a:rPr lang="en-US" sz="1200" dirty="0">
                <a:latin typeface="Helvetica"/>
                <a:cs typeface="Helvetica"/>
              </a:rPr>
              <a:t>, G., et al.: A Pattern Language for Pattern Writing. Pattern languages of program design (1998)</a:t>
            </a:r>
          </a:p>
        </p:txBody>
      </p:sp>
      <p:sp>
        <p:nvSpPr>
          <p:cNvPr id="11" name="Bent Arrow 10">
            <a:extLst>
              <a:ext uri="{FF2B5EF4-FFF2-40B4-BE49-F238E27FC236}">
                <a16:creationId xmlns:a16="http://schemas.microsoft.com/office/drawing/2014/main" id="{9EF5D6EE-F67C-9265-6CB7-F5C4D45EDC2A}"/>
              </a:ext>
            </a:extLst>
          </p:cNvPr>
          <p:cNvSpPr/>
          <p:nvPr/>
        </p:nvSpPr>
        <p:spPr>
          <a:xfrm rot="10800000">
            <a:off x="8508338" y="3939793"/>
            <a:ext cx="461700" cy="450498"/>
          </a:xfrm>
          <a:prstGeom prst="bentArrow">
            <a:avLst>
              <a:gd name="adj1" fmla="val 28849"/>
              <a:gd name="adj2" fmla="val 25000"/>
              <a:gd name="adj3" fmla="val 25000"/>
              <a:gd name="adj4" fmla="val 39510"/>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48">
              <a:solidFill>
                <a:schemeClr val="tx1"/>
              </a:solidFill>
            </a:endParaRPr>
          </a:p>
        </p:txBody>
      </p:sp>
      <p:sp>
        <p:nvSpPr>
          <p:cNvPr id="12" name="Bent Arrow 11">
            <a:extLst>
              <a:ext uri="{FF2B5EF4-FFF2-40B4-BE49-F238E27FC236}">
                <a16:creationId xmlns:a16="http://schemas.microsoft.com/office/drawing/2014/main" id="{ECBFDF73-742C-3150-1789-55ADFCC2A42F}"/>
              </a:ext>
            </a:extLst>
          </p:cNvPr>
          <p:cNvSpPr/>
          <p:nvPr/>
        </p:nvSpPr>
        <p:spPr>
          <a:xfrm flipH="1">
            <a:off x="8510070" y="3699100"/>
            <a:ext cx="461700" cy="479163"/>
          </a:xfrm>
          <a:prstGeom prst="bentArrow">
            <a:avLst>
              <a:gd name="adj1" fmla="val 28849"/>
              <a:gd name="adj2" fmla="val 25000"/>
              <a:gd name="adj3" fmla="val 25000"/>
              <a:gd name="adj4" fmla="val 39510"/>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48">
              <a:solidFill>
                <a:schemeClr val="tx1"/>
              </a:solidFill>
            </a:endParaRPr>
          </a:p>
        </p:txBody>
      </p:sp>
    </p:spTree>
    <p:extLst>
      <p:ext uri="{BB962C8B-B14F-4D97-AF65-F5344CB8AC3E}">
        <p14:creationId xmlns:p14="http://schemas.microsoft.com/office/powerpoint/2010/main" val="18327373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AU" dirty="0">
                <a:solidFill>
                  <a:schemeClr val="bg1"/>
                </a:solidFill>
              </a:rPr>
              <a:t>Patterns for Blockchain-Based Applications</a:t>
            </a:r>
            <a:endParaRPr lang="en-US" dirty="0">
              <a:solidFill>
                <a:schemeClr val="bg1"/>
              </a:solidFill>
            </a:endParaRPr>
          </a:p>
        </p:txBody>
      </p:sp>
    </p:spTree>
    <p:extLst>
      <p:ext uri="{BB962C8B-B14F-4D97-AF65-F5344CB8AC3E}">
        <p14:creationId xmlns:p14="http://schemas.microsoft.com/office/powerpoint/2010/main" val="6096666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 - Introduction" id="{1AC5D738-CF48-0447-BD34-4B4DD5F91B53}" vid="{6D0E9203-88B2-5246-821D-A1B0B958F1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nische Universität Berlin | PowerPoint Master</Template>
  <TotalTime>89</TotalTime>
  <Words>5167</Words>
  <Application>Microsoft Macintosh PowerPoint</Application>
  <PresentationFormat>On-screen Show (16:10)</PresentationFormat>
  <Paragraphs>500</Paragraphs>
  <Slides>24</Slides>
  <Notes>22</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4</vt:i4>
      </vt:variant>
    </vt:vector>
  </HeadingPairs>
  <TitlesOfParts>
    <vt:vector size="32" baseType="lpstr">
      <vt:lpstr>Arial</vt:lpstr>
      <vt:lpstr>Calibri</vt:lpstr>
      <vt:lpstr>Consolas</vt:lpstr>
      <vt:lpstr>Helvetica</vt:lpstr>
      <vt:lpstr>inherit</vt:lpstr>
      <vt:lpstr>Open Sans</vt:lpstr>
      <vt:lpstr>Roboto</vt:lpstr>
      <vt:lpstr>Technische Universität Berlin | PowerPoint Master</vt:lpstr>
      <vt:lpstr>Design Patterns for Blockchain Applications</vt:lpstr>
      <vt:lpstr>Outline</vt:lpstr>
      <vt:lpstr>PowerPoint Presentation</vt:lpstr>
      <vt:lpstr>PowerPoint Presentation</vt:lpstr>
      <vt:lpstr>Design Patterns</vt:lpstr>
      <vt:lpstr>Advantages of Patterns</vt:lpstr>
      <vt:lpstr>Essential Elements of a Pattern</vt:lpstr>
      <vt:lpstr>Extended Pattern Form</vt:lpstr>
      <vt:lpstr>PowerPoint Presentation</vt:lpstr>
      <vt:lpstr>Blockchain-Based Application Pattern Collection</vt:lpstr>
      <vt:lpstr>Application Pattern Collection – Summary</vt:lpstr>
      <vt:lpstr>Application Pattern Collection – Summary (Cont.)</vt:lpstr>
      <vt:lpstr>Smart Contract Patterns</vt:lpstr>
      <vt:lpstr>Token Patterns</vt:lpstr>
      <vt:lpstr>Factory Contract Pattern</vt:lpstr>
      <vt:lpstr>Factory Contract (Cont.)</vt:lpstr>
      <vt:lpstr>Contract Registry Pattern</vt:lpstr>
      <vt:lpstr>Contract Registry (Cont.)</vt:lpstr>
      <vt:lpstr>Related Patterns</vt:lpstr>
      <vt:lpstr>Contract Relay (aka Proxy)</vt:lpstr>
      <vt:lpstr>Contract Relay (Cont.)</vt:lpstr>
      <vt:lpstr>Pull Payment</vt:lpstr>
      <vt:lpstr>Pull Payment (Cont.)</vt:lpstr>
      <vt:lpstr>Pull Payment (Co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amp; Overview</dc:title>
  <dc:creator>Bandara, Dilum (Data61, Eveleigh)</dc:creator>
  <cp:lastModifiedBy>Bandara, Dilum (Data61, Eveleigh)</cp:lastModifiedBy>
  <cp:revision>17</cp:revision>
  <dcterms:created xsi:type="dcterms:W3CDTF">2024-01-02T23:16:19Z</dcterms:created>
  <dcterms:modified xsi:type="dcterms:W3CDTF">2024-04-15T10:28:21Z</dcterms:modified>
</cp:coreProperties>
</file>